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4.xml" ContentType="application/vnd.openxmlformats-officedocument.presentationml.tags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5.xml" ContentType="application/vnd.openxmlformats-officedocument.presentationml.tags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6.xml" ContentType="application/vnd.openxmlformats-officedocument.presentationml.tags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tags/tag7.xml" ContentType="application/vnd.openxmlformats-officedocument.presentationml.tags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sldIdLst>
    <p:sldId id="263" r:id="rId2"/>
    <p:sldId id="257" r:id="rId3"/>
    <p:sldId id="258" r:id="rId4"/>
    <p:sldId id="259" r:id="rId5"/>
    <p:sldId id="267" r:id="rId6"/>
    <p:sldId id="261" r:id="rId7"/>
    <p:sldId id="262" r:id="rId8"/>
    <p:sldId id="264" r:id="rId9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 snapToObjects="1">
      <p:cViewPr varScale="1">
        <p:scale>
          <a:sx n="68" d="100"/>
          <a:sy n="68" d="100"/>
        </p:scale>
        <p:origin x="1446" y="7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31CAC00-B29D-4C7E-85D2-D2F8934E0321}" type="doc">
      <dgm:prSet loTypeId="urn:microsoft.com/office/officeart/2005/8/layout/vList2" loCatId="list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010CB1C5-FDE0-4044-A786-FECC94B281E7}">
      <dgm:prSet/>
      <dgm:spPr/>
      <dgm:t>
        <a:bodyPr/>
        <a:lstStyle/>
        <a:p>
          <a:pPr algn="r" rtl="1"/>
          <a:r>
            <a:rPr lang="en-US" b="0" dirty="0" err="1"/>
            <a:t>هو</a:t>
          </a:r>
          <a:r>
            <a:rPr lang="en-US" b="0" dirty="0"/>
            <a:t> </a:t>
          </a:r>
          <a:r>
            <a:rPr lang="en-US" b="0" dirty="0" err="1"/>
            <a:t>كاتب</a:t>
          </a:r>
          <a:r>
            <a:rPr lang="en-US" b="0" dirty="0"/>
            <a:t> </a:t>
          </a:r>
          <a:r>
            <a:rPr lang="en-US" b="0" dirty="0" err="1"/>
            <a:t>وروائي</a:t>
          </a:r>
          <a:r>
            <a:rPr lang="en-US" b="0" dirty="0"/>
            <a:t> </a:t>
          </a:r>
          <a:r>
            <a:rPr lang="en-US" b="0" dirty="0" err="1"/>
            <a:t>مصري</a:t>
          </a:r>
          <a:r>
            <a:rPr lang="en-US" b="0" dirty="0"/>
            <a:t>.</a:t>
          </a:r>
          <a:endParaRPr lang="en-US" dirty="0"/>
        </a:p>
      </dgm:t>
    </dgm:pt>
    <dgm:pt modelId="{32CBA2DD-45E9-4F8A-A8C2-72B8D16C4D52}" type="parTrans" cxnId="{39FFB39E-E0A5-4F61-84F2-FA3DC517CDCF}">
      <dgm:prSet/>
      <dgm:spPr/>
      <dgm:t>
        <a:bodyPr/>
        <a:lstStyle/>
        <a:p>
          <a:endParaRPr lang="en-US"/>
        </a:p>
      </dgm:t>
    </dgm:pt>
    <dgm:pt modelId="{A3A1A6BB-17BF-4D72-A933-8AB61DC2E98C}" type="sibTrans" cxnId="{39FFB39E-E0A5-4F61-84F2-FA3DC517CDCF}">
      <dgm:prSet/>
      <dgm:spPr/>
      <dgm:t>
        <a:bodyPr/>
        <a:lstStyle/>
        <a:p>
          <a:endParaRPr lang="en-US"/>
        </a:p>
      </dgm:t>
    </dgm:pt>
    <dgm:pt modelId="{F92BA7CF-0DBE-4163-8A47-4EA6899408E7}">
      <dgm:prSet custT="1"/>
      <dgm:spPr/>
      <dgm:t>
        <a:bodyPr/>
        <a:lstStyle/>
        <a:p>
          <a:pPr algn="r" rtl="1"/>
          <a:r>
            <a:rPr lang="en-US" sz="3300" b="0" kern="1200" dirty="0" err="1"/>
            <a:t>وُلد</a:t>
          </a:r>
          <a:r>
            <a:rPr lang="en-US" sz="3300" b="0" kern="1200" dirty="0"/>
            <a:t> </a:t>
          </a:r>
          <a:r>
            <a:rPr lang="en-US" sz="3300" b="0" kern="1200" dirty="0" err="1"/>
            <a:t>في</a:t>
          </a:r>
          <a:r>
            <a:rPr lang="en-US" sz="3300" b="0" kern="1200" dirty="0"/>
            <a:t> </a:t>
          </a:r>
          <a:r>
            <a:rPr lang="en-US" sz="3300" b="0" kern="1200" dirty="0" err="1"/>
            <a:t>القاهرة</a:t>
          </a:r>
          <a:r>
            <a:rPr lang="en-US" sz="3300" b="0" kern="1200" dirty="0"/>
            <a:t> </a:t>
          </a:r>
          <a:r>
            <a:rPr lang="en-US" sz="3300" b="0" kern="1200" dirty="0" err="1">
              <a:solidFill>
                <a:prstClr val="white"/>
              </a:solidFill>
              <a:latin typeface="Calibri"/>
              <a:ea typeface="+mn-ea"/>
              <a:cs typeface="+mn-cs"/>
            </a:rPr>
            <a:t>سنة</a:t>
          </a:r>
          <a:r>
            <a:rPr lang="en-US" sz="3300" b="0" kern="1200" dirty="0">
              <a:solidFill>
                <a:prstClr val="white"/>
              </a:solidFill>
              <a:latin typeface="Calibri"/>
              <a:ea typeface="+mn-ea"/>
              <a:cs typeface="+mn-cs"/>
            </a:rPr>
            <a:t> 1911</a:t>
          </a:r>
          <a:endParaRPr lang="en-US" sz="3300" kern="1200" dirty="0"/>
        </a:p>
      </dgm:t>
    </dgm:pt>
    <dgm:pt modelId="{864C31C1-D924-4F4A-8C4F-94EBA34CEE53}" type="parTrans" cxnId="{E32142C1-DD3F-4CCB-8F8D-AAD50DF1FBD0}">
      <dgm:prSet/>
      <dgm:spPr/>
      <dgm:t>
        <a:bodyPr/>
        <a:lstStyle/>
        <a:p>
          <a:endParaRPr lang="en-US"/>
        </a:p>
      </dgm:t>
    </dgm:pt>
    <dgm:pt modelId="{02752016-7ED8-4C9C-AF77-69EB4AB83321}" type="sibTrans" cxnId="{E32142C1-DD3F-4CCB-8F8D-AAD50DF1FBD0}">
      <dgm:prSet/>
      <dgm:spPr/>
      <dgm:t>
        <a:bodyPr/>
        <a:lstStyle/>
        <a:p>
          <a:endParaRPr lang="en-US"/>
        </a:p>
      </dgm:t>
    </dgm:pt>
    <dgm:pt modelId="{B5D8E672-E345-4743-8573-F110C52B364E}">
      <dgm:prSet/>
      <dgm:spPr/>
      <dgm:t>
        <a:bodyPr/>
        <a:lstStyle/>
        <a:p>
          <a:pPr algn="r" rtl="1"/>
          <a:r>
            <a:rPr lang="en-US" b="0" dirty="0" err="1"/>
            <a:t>يُعد</a:t>
          </a:r>
          <a:r>
            <a:rPr lang="en-US" b="0" dirty="0"/>
            <a:t> </a:t>
          </a:r>
          <a:r>
            <a:rPr lang="en-US" b="0" dirty="0" err="1"/>
            <a:t>من</a:t>
          </a:r>
          <a:r>
            <a:rPr lang="en-US" b="0" dirty="0"/>
            <a:t> </a:t>
          </a:r>
          <a:r>
            <a:rPr lang="en-US" b="0" dirty="0" err="1"/>
            <a:t>أهم</a:t>
          </a:r>
          <a:r>
            <a:rPr lang="en-US" b="0" dirty="0"/>
            <a:t> </a:t>
          </a:r>
          <a:r>
            <a:rPr lang="en-US" b="0" dirty="0" err="1"/>
            <a:t>الأدباء</a:t>
          </a:r>
          <a:r>
            <a:rPr lang="en-US" b="0" dirty="0"/>
            <a:t> </a:t>
          </a:r>
          <a:r>
            <a:rPr lang="en-US" b="0" dirty="0" err="1"/>
            <a:t>العرب</a:t>
          </a:r>
          <a:r>
            <a:rPr lang="en-US" b="0" dirty="0"/>
            <a:t>.</a:t>
          </a:r>
          <a:endParaRPr lang="en-US" dirty="0"/>
        </a:p>
      </dgm:t>
    </dgm:pt>
    <dgm:pt modelId="{09783AD9-E69E-49A3-83C6-A4982DB4F1B0}" type="parTrans" cxnId="{E54C82E8-CE02-4F40-99C9-EC36F5C73D76}">
      <dgm:prSet/>
      <dgm:spPr/>
      <dgm:t>
        <a:bodyPr/>
        <a:lstStyle/>
        <a:p>
          <a:endParaRPr lang="en-US"/>
        </a:p>
      </dgm:t>
    </dgm:pt>
    <dgm:pt modelId="{F5EBF56F-B5F2-449D-AE6C-6CEEE9FFD979}" type="sibTrans" cxnId="{E54C82E8-CE02-4F40-99C9-EC36F5C73D76}">
      <dgm:prSet/>
      <dgm:spPr/>
      <dgm:t>
        <a:bodyPr/>
        <a:lstStyle/>
        <a:p>
          <a:endParaRPr lang="en-US"/>
        </a:p>
      </dgm:t>
    </dgm:pt>
    <dgm:pt modelId="{5B142F13-B355-4A0E-84AF-B9C586890B5C}">
      <dgm:prSet/>
      <dgm:spPr/>
      <dgm:t>
        <a:bodyPr/>
        <a:lstStyle/>
        <a:p>
          <a:pPr algn="r" rtl="1"/>
          <a:r>
            <a:rPr lang="en-US" b="0" dirty="0" err="1"/>
            <a:t>أول</a:t>
          </a:r>
          <a:r>
            <a:rPr lang="en-US" b="0" dirty="0"/>
            <a:t> </a:t>
          </a:r>
          <a:r>
            <a:rPr lang="en-US" b="0" dirty="0" err="1"/>
            <a:t>عربي</a:t>
          </a:r>
          <a:r>
            <a:rPr lang="en-US" b="0" dirty="0"/>
            <a:t> </a:t>
          </a:r>
          <a:r>
            <a:rPr lang="en-US" b="0" dirty="0" err="1"/>
            <a:t>يحصل</a:t>
          </a:r>
          <a:r>
            <a:rPr lang="en-US" b="0" dirty="0"/>
            <a:t> </a:t>
          </a:r>
          <a:r>
            <a:rPr lang="en-US" b="0" dirty="0" err="1"/>
            <a:t>على</a:t>
          </a:r>
          <a:r>
            <a:rPr lang="en-US" b="0" dirty="0"/>
            <a:t> </a:t>
          </a:r>
          <a:r>
            <a:rPr lang="en-US" b="0" dirty="0" err="1"/>
            <a:t>جائزة</a:t>
          </a:r>
          <a:r>
            <a:rPr lang="en-US" b="0" dirty="0"/>
            <a:t> </a:t>
          </a:r>
          <a:r>
            <a:rPr lang="en-US" b="0" dirty="0" err="1"/>
            <a:t>نوبل</a:t>
          </a:r>
          <a:r>
            <a:rPr lang="en-US" b="0" dirty="0"/>
            <a:t> </a:t>
          </a:r>
          <a:r>
            <a:rPr lang="en-US" b="0" dirty="0" err="1"/>
            <a:t>في</a:t>
          </a:r>
          <a:r>
            <a:rPr lang="en-US" b="0" dirty="0"/>
            <a:t> </a:t>
          </a:r>
          <a:r>
            <a:rPr lang="en-US" b="0" dirty="0" err="1"/>
            <a:t>الأدب</a:t>
          </a:r>
          <a:r>
            <a:rPr lang="en-US" b="0" dirty="0"/>
            <a:t>.</a:t>
          </a:r>
          <a:endParaRPr lang="en-US" dirty="0"/>
        </a:p>
      </dgm:t>
    </dgm:pt>
    <dgm:pt modelId="{06021EC3-CE4F-4996-9ECA-1CE570E64501}" type="parTrans" cxnId="{C364151C-B9B4-4CEB-946C-77C55B296912}">
      <dgm:prSet/>
      <dgm:spPr/>
      <dgm:t>
        <a:bodyPr/>
        <a:lstStyle/>
        <a:p>
          <a:endParaRPr lang="en-US"/>
        </a:p>
      </dgm:t>
    </dgm:pt>
    <dgm:pt modelId="{B041A898-05D2-47FC-8CBC-EF3859E6654A}" type="sibTrans" cxnId="{C364151C-B9B4-4CEB-946C-77C55B296912}">
      <dgm:prSet/>
      <dgm:spPr/>
      <dgm:t>
        <a:bodyPr/>
        <a:lstStyle/>
        <a:p>
          <a:endParaRPr lang="en-US"/>
        </a:p>
      </dgm:t>
    </dgm:pt>
    <dgm:pt modelId="{8B092866-F598-45BD-B680-C45C51EAF01A}" type="pres">
      <dgm:prSet presAssocID="{A31CAC00-B29D-4C7E-85D2-D2F8934E0321}" presName="linear" presStyleCnt="0">
        <dgm:presLayoutVars>
          <dgm:animLvl val="lvl"/>
          <dgm:resizeHandles val="exact"/>
        </dgm:presLayoutVars>
      </dgm:prSet>
      <dgm:spPr/>
    </dgm:pt>
    <dgm:pt modelId="{B76430B5-CB64-4CB7-BE61-A321629919DF}" type="pres">
      <dgm:prSet presAssocID="{010CB1C5-FDE0-4044-A786-FECC94B281E7}" presName="parentText" presStyleLbl="node1" presStyleIdx="0" presStyleCnt="4">
        <dgm:presLayoutVars>
          <dgm:chMax val="0"/>
          <dgm:bulletEnabled val="1"/>
        </dgm:presLayoutVars>
      </dgm:prSet>
      <dgm:spPr/>
    </dgm:pt>
    <dgm:pt modelId="{C154AB4E-C7B5-4E45-8A71-29C2B77C236F}" type="pres">
      <dgm:prSet presAssocID="{A3A1A6BB-17BF-4D72-A933-8AB61DC2E98C}" presName="spacer" presStyleCnt="0"/>
      <dgm:spPr/>
    </dgm:pt>
    <dgm:pt modelId="{DE0B352C-A1B8-4F92-8724-BDDD43D3B5C6}" type="pres">
      <dgm:prSet presAssocID="{F92BA7CF-0DBE-4163-8A47-4EA6899408E7}" presName="parentText" presStyleLbl="node1" presStyleIdx="1" presStyleCnt="4">
        <dgm:presLayoutVars>
          <dgm:chMax val="0"/>
          <dgm:bulletEnabled val="1"/>
        </dgm:presLayoutVars>
      </dgm:prSet>
      <dgm:spPr/>
    </dgm:pt>
    <dgm:pt modelId="{4E5575B9-F45A-4CD7-8E28-1B93B956A4EB}" type="pres">
      <dgm:prSet presAssocID="{02752016-7ED8-4C9C-AF77-69EB4AB83321}" presName="spacer" presStyleCnt="0"/>
      <dgm:spPr/>
    </dgm:pt>
    <dgm:pt modelId="{8DDF3468-CAC1-4A55-B842-1D0778765E3A}" type="pres">
      <dgm:prSet presAssocID="{B5D8E672-E345-4743-8573-F110C52B364E}" presName="parentText" presStyleLbl="node1" presStyleIdx="2" presStyleCnt="4">
        <dgm:presLayoutVars>
          <dgm:chMax val="0"/>
          <dgm:bulletEnabled val="1"/>
        </dgm:presLayoutVars>
      </dgm:prSet>
      <dgm:spPr/>
    </dgm:pt>
    <dgm:pt modelId="{EEAAFE75-BB96-429E-AADF-F68623402881}" type="pres">
      <dgm:prSet presAssocID="{F5EBF56F-B5F2-449D-AE6C-6CEEE9FFD979}" presName="spacer" presStyleCnt="0"/>
      <dgm:spPr/>
    </dgm:pt>
    <dgm:pt modelId="{AFF5E740-39CD-4056-8B84-2B4A41E686AB}" type="pres">
      <dgm:prSet presAssocID="{5B142F13-B355-4A0E-84AF-B9C586890B5C}" presName="parentText" presStyleLbl="node1" presStyleIdx="3" presStyleCnt="4">
        <dgm:presLayoutVars>
          <dgm:chMax val="0"/>
          <dgm:bulletEnabled val="1"/>
        </dgm:presLayoutVars>
      </dgm:prSet>
      <dgm:spPr/>
    </dgm:pt>
  </dgm:ptLst>
  <dgm:cxnLst>
    <dgm:cxn modelId="{C364151C-B9B4-4CEB-946C-77C55B296912}" srcId="{A31CAC00-B29D-4C7E-85D2-D2F8934E0321}" destId="{5B142F13-B355-4A0E-84AF-B9C586890B5C}" srcOrd="3" destOrd="0" parTransId="{06021EC3-CE4F-4996-9ECA-1CE570E64501}" sibTransId="{B041A898-05D2-47FC-8CBC-EF3859E6654A}"/>
    <dgm:cxn modelId="{A7EF1631-D0C4-412B-AA2E-8BCCDD2AA707}" type="presOf" srcId="{B5D8E672-E345-4743-8573-F110C52B364E}" destId="{8DDF3468-CAC1-4A55-B842-1D0778765E3A}" srcOrd="0" destOrd="0" presId="urn:microsoft.com/office/officeart/2005/8/layout/vList2"/>
    <dgm:cxn modelId="{11AD8246-AE67-4E0B-94C4-60C4F489204F}" type="presOf" srcId="{F92BA7CF-0DBE-4163-8A47-4EA6899408E7}" destId="{DE0B352C-A1B8-4F92-8724-BDDD43D3B5C6}" srcOrd="0" destOrd="0" presId="urn:microsoft.com/office/officeart/2005/8/layout/vList2"/>
    <dgm:cxn modelId="{39FFB39E-E0A5-4F61-84F2-FA3DC517CDCF}" srcId="{A31CAC00-B29D-4C7E-85D2-D2F8934E0321}" destId="{010CB1C5-FDE0-4044-A786-FECC94B281E7}" srcOrd="0" destOrd="0" parTransId="{32CBA2DD-45E9-4F8A-A8C2-72B8D16C4D52}" sibTransId="{A3A1A6BB-17BF-4D72-A933-8AB61DC2E98C}"/>
    <dgm:cxn modelId="{E32142C1-DD3F-4CCB-8F8D-AAD50DF1FBD0}" srcId="{A31CAC00-B29D-4C7E-85D2-D2F8934E0321}" destId="{F92BA7CF-0DBE-4163-8A47-4EA6899408E7}" srcOrd="1" destOrd="0" parTransId="{864C31C1-D924-4F4A-8C4F-94EBA34CEE53}" sibTransId="{02752016-7ED8-4C9C-AF77-69EB4AB83321}"/>
    <dgm:cxn modelId="{4673BCC7-20D0-4A46-97AE-6C142B7F1FA4}" type="presOf" srcId="{010CB1C5-FDE0-4044-A786-FECC94B281E7}" destId="{B76430B5-CB64-4CB7-BE61-A321629919DF}" srcOrd="0" destOrd="0" presId="urn:microsoft.com/office/officeart/2005/8/layout/vList2"/>
    <dgm:cxn modelId="{FC5CB4DC-5C5E-4F82-B707-3335DD556D66}" type="presOf" srcId="{A31CAC00-B29D-4C7E-85D2-D2F8934E0321}" destId="{8B092866-F598-45BD-B680-C45C51EAF01A}" srcOrd="0" destOrd="0" presId="urn:microsoft.com/office/officeart/2005/8/layout/vList2"/>
    <dgm:cxn modelId="{3B3AFBDD-7634-4E65-920F-20E3606FB90B}" type="presOf" srcId="{5B142F13-B355-4A0E-84AF-B9C586890B5C}" destId="{AFF5E740-39CD-4056-8B84-2B4A41E686AB}" srcOrd="0" destOrd="0" presId="urn:microsoft.com/office/officeart/2005/8/layout/vList2"/>
    <dgm:cxn modelId="{E54C82E8-CE02-4F40-99C9-EC36F5C73D76}" srcId="{A31CAC00-B29D-4C7E-85D2-D2F8934E0321}" destId="{B5D8E672-E345-4743-8573-F110C52B364E}" srcOrd="2" destOrd="0" parTransId="{09783AD9-E69E-49A3-83C6-A4982DB4F1B0}" sibTransId="{F5EBF56F-B5F2-449D-AE6C-6CEEE9FFD979}"/>
    <dgm:cxn modelId="{FF403922-4CDF-42C2-8CB4-87BFE338D8EC}" type="presParOf" srcId="{8B092866-F598-45BD-B680-C45C51EAF01A}" destId="{B76430B5-CB64-4CB7-BE61-A321629919DF}" srcOrd="0" destOrd="0" presId="urn:microsoft.com/office/officeart/2005/8/layout/vList2"/>
    <dgm:cxn modelId="{1482AAEC-AE96-4CCC-B19C-44342040942E}" type="presParOf" srcId="{8B092866-F598-45BD-B680-C45C51EAF01A}" destId="{C154AB4E-C7B5-4E45-8A71-29C2B77C236F}" srcOrd="1" destOrd="0" presId="urn:microsoft.com/office/officeart/2005/8/layout/vList2"/>
    <dgm:cxn modelId="{A46A0A84-4E00-4EAC-A150-61E2B3273381}" type="presParOf" srcId="{8B092866-F598-45BD-B680-C45C51EAF01A}" destId="{DE0B352C-A1B8-4F92-8724-BDDD43D3B5C6}" srcOrd="2" destOrd="0" presId="urn:microsoft.com/office/officeart/2005/8/layout/vList2"/>
    <dgm:cxn modelId="{63A3CFBE-4EB0-40D8-89BD-4D163937E025}" type="presParOf" srcId="{8B092866-F598-45BD-B680-C45C51EAF01A}" destId="{4E5575B9-F45A-4CD7-8E28-1B93B956A4EB}" srcOrd="3" destOrd="0" presId="urn:microsoft.com/office/officeart/2005/8/layout/vList2"/>
    <dgm:cxn modelId="{2F06B6FF-8FF0-4E4C-9C71-17ABAFD0B2DB}" type="presParOf" srcId="{8B092866-F598-45BD-B680-C45C51EAF01A}" destId="{8DDF3468-CAC1-4A55-B842-1D0778765E3A}" srcOrd="4" destOrd="0" presId="urn:microsoft.com/office/officeart/2005/8/layout/vList2"/>
    <dgm:cxn modelId="{87060F18-AB0F-4B36-A300-CA97A3EBCAE9}" type="presParOf" srcId="{8B092866-F598-45BD-B680-C45C51EAF01A}" destId="{EEAAFE75-BB96-429E-AADF-F68623402881}" srcOrd="5" destOrd="0" presId="urn:microsoft.com/office/officeart/2005/8/layout/vList2"/>
    <dgm:cxn modelId="{93ED6D2A-9F39-4395-BB03-262F7861065A}" type="presParOf" srcId="{8B092866-F598-45BD-B680-C45C51EAF01A}" destId="{AFF5E740-39CD-4056-8B84-2B4A41E686AB}" srcOrd="6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794B12FF-DD3B-4178-99EE-946CF90D2ADB}" type="doc">
      <dgm:prSet loTypeId="urn:microsoft.com/office/officeart/2005/8/layout/vList2" loCatId="list" qsTypeId="urn:microsoft.com/office/officeart/2005/8/quickstyle/simple1" qsCatId="simple" csTypeId="urn:microsoft.com/office/officeart/2005/8/colors/colorful2" csCatId="colorful"/>
      <dgm:spPr/>
      <dgm:t>
        <a:bodyPr/>
        <a:lstStyle/>
        <a:p>
          <a:endParaRPr lang="en-US"/>
        </a:p>
      </dgm:t>
    </dgm:pt>
    <dgm:pt modelId="{7F738C9C-BF4B-4831-ACB4-9EA64280033F}">
      <dgm:prSet/>
      <dgm:spPr/>
      <dgm:t>
        <a:bodyPr/>
        <a:lstStyle/>
        <a:p>
          <a:pPr algn="r" rtl="1"/>
          <a:r>
            <a:rPr lang="en-US" b="0" dirty="0" err="1"/>
            <a:t>نشأ</a:t>
          </a:r>
          <a:r>
            <a:rPr lang="en-US" b="0" dirty="0"/>
            <a:t> </a:t>
          </a:r>
          <a:r>
            <a:rPr lang="en-US" b="0" dirty="0" err="1"/>
            <a:t>في</a:t>
          </a:r>
          <a:r>
            <a:rPr lang="en-US" b="0" dirty="0"/>
            <a:t> </a:t>
          </a:r>
          <a:r>
            <a:rPr lang="en-US" b="0" dirty="0" err="1"/>
            <a:t>حي</a:t>
          </a:r>
          <a:r>
            <a:rPr lang="en-US" b="0" dirty="0"/>
            <a:t> </a:t>
          </a:r>
          <a:r>
            <a:rPr lang="en-US" b="0" dirty="0" err="1"/>
            <a:t>شعبي</a:t>
          </a:r>
          <a:r>
            <a:rPr lang="en-US" b="0" dirty="0"/>
            <a:t> </a:t>
          </a:r>
          <a:r>
            <a:rPr lang="en-US" b="0" dirty="0" err="1"/>
            <a:t>بالقاهرة</a:t>
          </a:r>
          <a:r>
            <a:rPr lang="en-US" b="0" dirty="0"/>
            <a:t>.</a:t>
          </a:r>
          <a:endParaRPr lang="en-US" dirty="0"/>
        </a:p>
      </dgm:t>
    </dgm:pt>
    <dgm:pt modelId="{BF9B1460-6489-40AD-A205-E69AD71D6DA5}" type="parTrans" cxnId="{BDE5C2D1-621E-45F4-B25E-0A8A49D99DC6}">
      <dgm:prSet/>
      <dgm:spPr/>
      <dgm:t>
        <a:bodyPr/>
        <a:lstStyle/>
        <a:p>
          <a:endParaRPr lang="en-US"/>
        </a:p>
      </dgm:t>
    </dgm:pt>
    <dgm:pt modelId="{584260F4-3815-40D1-B009-457E6F2E0EA2}" type="sibTrans" cxnId="{BDE5C2D1-621E-45F4-B25E-0A8A49D99DC6}">
      <dgm:prSet/>
      <dgm:spPr/>
      <dgm:t>
        <a:bodyPr/>
        <a:lstStyle/>
        <a:p>
          <a:endParaRPr lang="en-US"/>
        </a:p>
      </dgm:t>
    </dgm:pt>
    <dgm:pt modelId="{B6330AF9-5B77-4720-8BB7-C0F78FCF96C2}">
      <dgm:prSet/>
      <dgm:spPr/>
      <dgm:t>
        <a:bodyPr/>
        <a:lstStyle/>
        <a:p>
          <a:pPr algn="r" rtl="1"/>
          <a:r>
            <a:rPr lang="en-US" b="0" dirty="0" err="1"/>
            <a:t>درس</a:t>
          </a:r>
          <a:r>
            <a:rPr lang="en-US" b="0" dirty="0"/>
            <a:t> </a:t>
          </a:r>
          <a:r>
            <a:rPr lang="en-US" b="0" dirty="0" err="1"/>
            <a:t>الفلسفة</a:t>
          </a:r>
          <a:r>
            <a:rPr lang="en-US" b="0" dirty="0"/>
            <a:t> </a:t>
          </a:r>
          <a:r>
            <a:rPr lang="en-US" b="0" dirty="0" err="1"/>
            <a:t>في</a:t>
          </a:r>
          <a:r>
            <a:rPr lang="en-US" b="0" dirty="0"/>
            <a:t> </a:t>
          </a:r>
          <a:r>
            <a:rPr lang="en-US" b="0" dirty="0" err="1"/>
            <a:t>جامعة</a:t>
          </a:r>
          <a:r>
            <a:rPr lang="en-US" b="0" dirty="0"/>
            <a:t> </a:t>
          </a:r>
          <a:r>
            <a:rPr lang="en-US" b="0" dirty="0" err="1"/>
            <a:t>القاهرة</a:t>
          </a:r>
          <a:r>
            <a:rPr lang="en-US" b="0" dirty="0"/>
            <a:t>.</a:t>
          </a:r>
          <a:endParaRPr lang="en-US" dirty="0"/>
        </a:p>
      </dgm:t>
    </dgm:pt>
    <dgm:pt modelId="{CEB4AD27-2DDF-4018-A6BD-61B108123503}" type="parTrans" cxnId="{071BEA4F-6A47-457C-A88E-4F320F95B8C1}">
      <dgm:prSet/>
      <dgm:spPr/>
      <dgm:t>
        <a:bodyPr/>
        <a:lstStyle/>
        <a:p>
          <a:endParaRPr lang="en-US"/>
        </a:p>
      </dgm:t>
    </dgm:pt>
    <dgm:pt modelId="{359C14D0-87B6-4F9F-861D-EC8B77A847EC}" type="sibTrans" cxnId="{071BEA4F-6A47-457C-A88E-4F320F95B8C1}">
      <dgm:prSet/>
      <dgm:spPr/>
      <dgm:t>
        <a:bodyPr/>
        <a:lstStyle/>
        <a:p>
          <a:endParaRPr lang="en-US"/>
        </a:p>
      </dgm:t>
    </dgm:pt>
    <dgm:pt modelId="{6D744C20-D43F-4AC4-92C4-E91003157A40}">
      <dgm:prSet/>
      <dgm:spPr/>
      <dgm:t>
        <a:bodyPr/>
        <a:lstStyle/>
        <a:p>
          <a:pPr algn="r" rtl="1"/>
          <a:r>
            <a:rPr lang="en-US" b="0" dirty="0" err="1"/>
            <a:t>كان</a:t>
          </a:r>
          <a:r>
            <a:rPr lang="en-US" b="0" dirty="0"/>
            <a:t> </a:t>
          </a:r>
          <a:r>
            <a:rPr lang="en-US" b="0" dirty="0" err="1"/>
            <a:t>يكتب</a:t>
          </a:r>
          <a:r>
            <a:rPr lang="en-US" b="0" dirty="0"/>
            <a:t> </a:t>
          </a:r>
          <a:r>
            <a:rPr lang="en-US" b="0" dirty="0" err="1"/>
            <a:t>عن</a:t>
          </a:r>
          <a:r>
            <a:rPr lang="en-US" b="0" dirty="0"/>
            <a:t> </a:t>
          </a:r>
          <a:r>
            <a:rPr lang="en-US" b="0" dirty="0" err="1"/>
            <a:t>حياة</a:t>
          </a:r>
          <a:r>
            <a:rPr lang="en-US" b="0" dirty="0"/>
            <a:t> </a:t>
          </a:r>
          <a:r>
            <a:rPr lang="en-US" b="0" dirty="0" err="1"/>
            <a:t>الناس</a:t>
          </a:r>
          <a:r>
            <a:rPr lang="en-US" b="0" dirty="0"/>
            <a:t> </a:t>
          </a:r>
          <a:r>
            <a:rPr lang="en-US" b="0" dirty="0" err="1"/>
            <a:t>والمجتمع</a:t>
          </a:r>
          <a:r>
            <a:rPr lang="en-US" b="0" dirty="0"/>
            <a:t> </a:t>
          </a:r>
          <a:r>
            <a:rPr lang="en-US" b="0" dirty="0" err="1"/>
            <a:t>من</a:t>
          </a:r>
          <a:r>
            <a:rPr lang="en-US" b="0" dirty="0"/>
            <a:t> </a:t>
          </a:r>
          <a:r>
            <a:rPr lang="en-US" b="0" dirty="0" err="1"/>
            <a:t>حوله</a:t>
          </a:r>
          <a:r>
            <a:rPr lang="en-US" b="0" dirty="0"/>
            <a:t>.</a:t>
          </a:r>
          <a:endParaRPr lang="en-US" dirty="0"/>
        </a:p>
      </dgm:t>
    </dgm:pt>
    <dgm:pt modelId="{80AA45CF-D4C4-4557-90AB-A1E9B212F955}" type="parTrans" cxnId="{44DA9C55-F53F-4A1D-9F14-7667C9A32515}">
      <dgm:prSet/>
      <dgm:spPr/>
      <dgm:t>
        <a:bodyPr/>
        <a:lstStyle/>
        <a:p>
          <a:endParaRPr lang="en-US"/>
        </a:p>
      </dgm:t>
    </dgm:pt>
    <dgm:pt modelId="{97536B05-6F4A-4D1C-92FE-8B9AA8BD6390}" type="sibTrans" cxnId="{44DA9C55-F53F-4A1D-9F14-7667C9A32515}">
      <dgm:prSet/>
      <dgm:spPr/>
      <dgm:t>
        <a:bodyPr/>
        <a:lstStyle/>
        <a:p>
          <a:endParaRPr lang="en-US"/>
        </a:p>
      </dgm:t>
    </dgm:pt>
    <dgm:pt modelId="{5689AB22-B5B6-4E77-B995-34EFEDCD109A}" type="pres">
      <dgm:prSet presAssocID="{794B12FF-DD3B-4178-99EE-946CF90D2ADB}" presName="linear" presStyleCnt="0">
        <dgm:presLayoutVars>
          <dgm:animLvl val="lvl"/>
          <dgm:resizeHandles val="exact"/>
        </dgm:presLayoutVars>
      </dgm:prSet>
      <dgm:spPr/>
    </dgm:pt>
    <dgm:pt modelId="{7579316F-C55A-4369-AF9C-C6556C44FA60}" type="pres">
      <dgm:prSet presAssocID="{7F738C9C-BF4B-4831-ACB4-9EA64280033F}" presName="parentText" presStyleLbl="node1" presStyleIdx="0" presStyleCnt="3">
        <dgm:presLayoutVars>
          <dgm:chMax val="0"/>
          <dgm:bulletEnabled val="1"/>
        </dgm:presLayoutVars>
      </dgm:prSet>
      <dgm:spPr/>
    </dgm:pt>
    <dgm:pt modelId="{D7982C56-AD6D-4F63-8C92-E1AAFC385F1F}" type="pres">
      <dgm:prSet presAssocID="{584260F4-3815-40D1-B009-457E6F2E0EA2}" presName="spacer" presStyleCnt="0"/>
      <dgm:spPr/>
    </dgm:pt>
    <dgm:pt modelId="{C182D8A7-9276-493D-A7DF-AB5A39FD3229}" type="pres">
      <dgm:prSet presAssocID="{B6330AF9-5B77-4720-8BB7-C0F78FCF96C2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C6AC65A3-36E9-45D9-B1D8-EF8793113807}" type="pres">
      <dgm:prSet presAssocID="{359C14D0-87B6-4F9F-861D-EC8B77A847EC}" presName="spacer" presStyleCnt="0"/>
      <dgm:spPr/>
    </dgm:pt>
    <dgm:pt modelId="{CD09DA5C-5BB4-4635-A34F-F46B1BA8E638}" type="pres">
      <dgm:prSet presAssocID="{6D744C20-D43F-4AC4-92C4-E91003157A40}" presName="parentText" presStyleLbl="node1" presStyleIdx="2" presStyleCnt="3">
        <dgm:presLayoutVars>
          <dgm:chMax val="0"/>
          <dgm:bulletEnabled val="1"/>
        </dgm:presLayoutVars>
      </dgm:prSet>
      <dgm:spPr/>
    </dgm:pt>
  </dgm:ptLst>
  <dgm:cxnLst>
    <dgm:cxn modelId="{89612917-3319-4599-A241-03AE544E7C6B}" type="presOf" srcId="{B6330AF9-5B77-4720-8BB7-C0F78FCF96C2}" destId="{C182D8A7-9276-493D-A7DF-AB5A39FD3229}" srcOrd="0" destOrd="0" presId="urn:microsoft.com/office/officeart/2005/8/layout/vList2"/>
    <dgm:cxn modelId="{6288A044-3C51-42B9-A495-CEA83EB4811C}" type="presOf" srcId="{794B12FF-DD3B-4178-99EE-946CF90D2ADB}" destId="{5689AB22-B5B6-4E77-B995-34EFEDCD109A}" srcOrd="0" destOrd="0" presId="urn:microsoft.com/office/officeart/2005/8/layout/vList2"/>
    <dgm:cxn modelId="{071BEA4F-6A47-457C-A88E-4F320F95B8C1}" srcId="{794B12FF-DD3B-4178-99EE-946CF90D2ADB}" destId="{B6330AF9-5B77-4720-8BB7-C0F78FCF96C2}" srcOrd="1" destOrd="0" parTransId="{CEB4AD27-2DDF-4018-A6BD-61B108123503}" sibTransId="{359C14D0-87B6-4F9F-861D-EC8B77A847EC}"/>
    <dgm:cxn modelId="{44DA9C55-F53F-4A1D-9F14-7667C9A32515}" srcId="{794B12FF-DD3B-4178-99EE-946CF90D2ADB}" destId="{6D744C20-D43F-4AC4-92C4-E91003157A40}" srcOrd="2" destOrd="0" parTransId="{80AA45CF-D4C4-4557-90AB-A1E9B212F955}" sibTransId="{97536B05-6F4A-4D1C-92FE-8B9AA8BD6390}"/>
    <dgm:cxn modelId="{3058C4BC-4D58-448D-9167-D378B68E5992}" type="presOf" srcId="{7F738C9C-BF4B-4831-ACB4-9EA64280033F}" destId="{7579316F-C55A-4369-AF9C-C6556C44FA60}" srcOrd="0" destOrd="0" presId="urn:microsoft.com/office/officeart/2005/8/layout/vList2"/>
    <dgm:cxn modelId="{BDE5C2D1-621E-45F4-B25E-0A8A49D99DC6}" srcId="{794B12FF-DD3B-4178-99EE-946CF90D2ADB}" destId="{7F738C9C-BF4B-4831-ACB4-9EA64280033F}" srcOrd="0" destOrd="0" parTransId="{BF9B1460-6489-40AD-A205-E69AD71D6DA5}" sibTransId="{584260F4-3815-40D1-B009-457E6F2E0EA2}"/>
    <dgm:cxn modelId="{D2BDD6E4-DA1B-4E40-9673-FCF982195FFA}" type="presOf" srcId="{6D744C20-D43F-4AC4-92C4-E91003157A40}" destId="{CD09DA5C-5BB4-4635-A34F-F46B1BA8E638}" srcOrd="0" destOrd="0" presId="urn:microsoft.com/office/officeart/2005/8/layout/vList2"/>
    <dgm:cxn modelId="{3FBEEEC0-E773-4367-9BB6-AF96CF9262EA}" type="presParOf" srcId="{5689AB22-B5B6-4E77-B995-34EFEDCD109A}" destId="{7579316F-C55A-4369-AF9C-C6556C44FA60}" srcOrd="0" destOrd="0" presId="urn:microsoft.com/office/officeart/2005/8/layout/vList2"/>
    <dgm:cxn modelId="{722E711C-01FC-46C9-AB7B-2265C32B341F}" type="presParOf" srcId="{5689AB22-B5B6-4E77-B995-34EFEDCD109A}" destId="{D7982C56-AD6D-4F63-8C92-E1AAFC385F1F}" srcOrd="1" destOrd="0" presId="urn:microsoft.com/office/officeart/2005/8/layout/vList2"/>
    <dgm:cxn modelId="{E0E7DBD9-7BB0-408A-B350-96640DE49B40}" type="presParOf" srcId="{5689AB22-B5B6-4E77-B995-34EFEDCD109A}" destId="{C182D8A7-9276-493D-A7DF-AB5A39FD3229}" srcOrd="2" destOrd="0" presId="urn:microsoft.com/office/officeart/2005/8/layout/vList2"/>
    <dgm:cxn modelId="{DD559F93-461A-4320-B6D9-40F63F5B377F}" type="presParOf" srcId="{5689AB22-B5B6-4E77-B995-34EFEDCD109A}" destId="{C6AC65A3-36E9-45D9-B1D8-EF8793113807}" srcOrd="3" destOrd="0" presId="urn:microsoft.com/office/officeart/2005/8/layout/vList2"/>
    <dgm:cxn modelId="{9A0226E1-A8C2-4C04-9A48-32951B53085C}" type="presParOf" srcId="{5689AB22-B5B6-4E77-B995-34EFEDCD109A}" destId="{CD09DA5C-5BB4-4635-A34F-F46B1BA8E638}" srcOrd="4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31990801-8801-43CC-82E4-0B6322AEF2BB}" type="doc">
      <dgm:prSet loTypeId="urn:microsoft.com/office/officeart/2005/8/layout/vList2" loCatId="list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059F4208-E4FE-4A95-AD87-3CE7BEEE00CD}">
      <dgm:prSet/>
      <dgm:spPr/>
      <dgm:t>
        <a:bodyPr/>
        <a:lstStyle/>
        <a:p>
          <a:pPr algn="r" rtl="1"/>
          <a:r>
            <a:rPr lang="ar-JO" b="0" dirty="0"/>
            <a:t>الثلاثية</a:t>
          </a:r>
          <a:r>
            <a:rPr lang="en-US" b="0" dirty="0"/>
            <a:t>:</a:t>
          </a:r>
          <a:r>
            <a:rPr lang="ar-JO" b="0" dirty="0"/>
            <a:t> </a:t>
          </a:r>
          <a:r>
            <a:rPr lang="en-US" b="0" dirty="0"/>
            <a:t>)</a:t>
          </a:r>
          <a:r>
            <a:rPr lang="ar-JO" b="0" dirty="0"/>
            <a:t>بين القصرين وقصر الشوق والسكرية</a:t>
          </a:r>
          <a:r>
            <a:rPr lang="en-US" b="0" dirty="0"/>
            <a:t>(</a:t>
          </a:r>
          <a:endParaRPr lang="en-US" dirty="0"/>
        </a:p>
      </dgm:t>
    </dgm:pt>
    <dgm:pt modelId="{59E4397A-F1E1-40DD-B245-37877AF0C985}" type="parTrans" cxnId="{A4B9B13C-96A4-4CDD-AA3D-814E2D4E49C9}">
      <dgm:prSet/>
      <dgm:spPr/>
      <dgm:t>
        <a:bodyPr/>
        <a:lstStyle/>
        <a:p>
          <a:endParaRPr lang="en-US"/>
        </a:p>
      </dgm:t>
    </dgm:pt>
    <dgm:pt modelId="{96E31DFB-72B4-48D7-849A-B486D664B4B3}" type="sibTrans" cxnId="{A4B9B13C-96A4-4CDD-AA3D-814E2D4E49C9}">
      <dgm:prSet/>
      <dgm:spPr/>
      <dgm:t>
        <a:bodyPr/>
        <a:lstStyle/>
        <a:p>
          <a:endParaRPr lang="en-US"/>
        </a:p>
      </dgm:t>
    </dgm:pt>
    <dgm:pt modelId="{43167AA7-5745-4C1A-97B4-3A29F17091C2}">
      <dgm:prSet/>
      <dgm:spPr/>
      <dgm:t>
        <a:bodyPr/>
        <a:lstStyle/>
        <a:p>
          <a:pPr algn="r" rtl="1"/>
          <a:r>
            <a:rPr lang="en-US" b="0" dirty="0" err="1"/>
            <a:t>رواية</a:t>
          </a:r>
          <a:r>
            <a:rPr lang="en-US" b="0" dirty="0"/>
            <a:t> </a:t>
          </a:r>
          <a:r>
            <a:rPr lang="en-US" b="0" dirty="0" err="1"/>
            <a:t>اللص</a:t>
          </a:r>
          <a:r>
            <a:rPr lang="en-US" b="0" dirty="0"/>
            <a:t> </a:t>
          </a:r>
          <a:r>
            <a:rPr lang="en-US" b="0" dirty="0" err="1"/>
            <a:t>والكلاب</a:t>
          </a:r>
          <a:endParaRPr lang="en-US" dirty="0"/>
        </a:p>
      </dgm:t>
    </dgm:pt>
    <dgm:pt modelId="{2FCDF66D-9827-40C9-9502-53D96FFD111C}" type="parTrans" cxnId="{8797E2DC-D438-4DF7-B20E-D25AB66AD6FA}">
      <dgm:prSet/>
      <dgm:spPr/>
      <dgm:t>
        <a:bodyPr/>
        <a:lstStyle/>
        <a:p>
          <a:endParaRPr lang="en-US"/>
        </a:p>
      </dgm:t>
    </dgm:pt>
    <dgm:pt modelId="{1A51CB74-A717-4478-BC59-C75814AB9A5F}" type="sibTrans" cxnId="{8797E2DC-D438-4DF7-B20E-D25AB66AD6FA}">
      <dgm:prSet/>
      <dgm:spPr/>
      <dgm:t>
        <a:bodyPr/>
        <a:lstStyle/>
        <a:p>
          <a:endParaRPr lang="en-US"/>
        </a:p>
      </dgm:t>
    </dgm:pt>
    <dgm:pt modelId="{93470E97-62DA-4437-BF0F-952B9632A736}">
      <dgm:prSet/>
      <dgm:spPr/>
      <dgm:t>
        <a:bodyPr/>
        <a:lstStyle/>
        <a:p>
          <a:pPr algn="r" rtl="1"/>
          <a:r>
            <a:rPr lang="en-US" b="0" dirty="0" err="1"/>
            <a:t>رواية</a:t>
          </a:r>
          <a:r>
            <a:rPr lang="en-US" b="0" dirty="0"/>
            <a:t> </a:t>
          </a:r>
          <a:r>
            <a:rPr lang="en-US" b="0" dirty="0" err="1"/>
            <a:t>زقاق</a:t>
          </a:r>
          <a:r>
            <a:rPr lang="en-US" b="0" dirty="0"/>
            <a:t> </a:t>
          </a:r>
          <a:r>
            <a:rPr lang="en-US" b="0" dirty="0" err="1"/>
            <a:t>المدق</a:t>
          </a:r>
          <a:endParaRPr lang="en-US" dirty="0"/>
        </a:p>
      </dgm:t>
    </dgm:pt>
    <dgm:pt modelId="{ADDCD895-5C0A-4FFB-9C27-9D09E4C88C6E}" type="parTrans" cxnId="{A591EA9C-5AD1-4055-AF26-0934F4D41661}">
      <dgm:prSet/>
      <dgm:spPr/>
      <dgm:t>
        <a:bodyPr/>
        <a:lstStyle/>
        <a:p>
          <a:endParaRPr lang="en-US"/>
        </a:p>
      </dgm:t>
    </dgm:pt>
    <dgm:pt modelId="{3DB9F47E-51CB-4ADE-9E32-9B6821D7A20A}" type="sibTrans" cxnId="{A591EA9C-5AD1-4055-AF26-0934F4D41661}">
      <dgm:prSet/>
      <dgm:spPr/>
      <dgm:t>
        <a:bodyPr/>
        <a:lstStyle/>
        <a:p>
          <a:endParaRPr lang="en-US"/>
        </a:p>
      </dgm:t>
    </dgm:pt>
    <dgm:pt modelId="{8A75F6A2-CD50-4647-ADDE-430DBFBE6C25}" type="pres">
      <dgm:prSet presAssocID="{31990801-8801-43CC-82E4-0B6322AEF2BB}" presName="linear" presStyleCnt="0">
        <dgm:presLayoutVars>
          <dgm:animLvl val="lvl"/>
          <dgm:resizeHandles val="exact"/>
        </dgm:presLayoutVars>
      </dgm:prSet>
      <dgm:spPr/>
    </dgm:pt>
    <dgm:pt modelId="{1B18DB39-2C2C-4F77-AB20-79DD0D2B6ED7}" type="pres">
      <dgm:prSet presAssocID="{059F4208-E4FE-4A95-AD87-3CE7BEEE00CD}" presName="parentText" presStyleLbl="node1" presStyleIdx="0" presStyleCnt="3">
        <dgm:presLayoutVars>
          <dgm:chMax val="0"/>
          <dgm:bulletEnabled val="1"/>
        </dgm:presLayoutVars>
      </dgm:prSet>
      <dgm:spPr/>
    </dgm:pt>
    <dgm:pt modelId="{B1138796-BFAF-499D-954B-518CF42509F6}" type="pres">
      <dgm:prSet presAssocID="{96E31DFB-72B4-48D7-849A-B486D664B4B3}" presName="spacer" presStyleCnt="0"/>
      <dgm:spPr/>
    </dgm:pt>
    <dgm:pt modelId="{20BE7274-C8B5-47E9-A5CE-159D2B55E170}" type="pres">
      <dgm:prSet presAssocID="{43167AA7-5745-4C1A-97B4-3A29F17091C2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28809A86-14A6-450E-A000-C720A2CAA933}" type="pres">
      <dgm:prSet presAssocID="{1A51CB74-A717-4478-BC59-C75814AB9A5F}" presName="spacer" presStyleCnt="0"/>
      <dgm:spPr/>
    </dgm:pt>
    <dgm:pt modelId="{E8C00508-32DC-4BE3-B7EF-F676BA115096}" type="pres">
      <dgm:prSet presAssocID="{93470E97-62DA-4437-BF0F-952B9632A736}" presName="parentText" presStyleLbl="node1" presStyleIdx="2" presStyleCnt="3">
        <dgm:presLayoutVars>
          <dgm:chMax val="0"/>
          <dgm:bulletEnabled val="1"/>
        </dgm:presLayoutVars>
      </dgm:prSet>
      <dgm:spPr/>
    </dgm:pt>
  </dgm:ptLst>
  <dgm:cxnLst>
    <dgm:cxn modelId="{9D1B9103-9DF8-4282-B8E1-579D06947104}" type="presOf" srcId="{059F4208-E4FE-4A95-AD87-3CE7BEEE00CD}" destId="{1B18DB39-2C2C-4F77-AB20-79DD0D2B6ED7}" srcOrd="0" destOrd="0" presId="urn:microsoft.com/office/officeart/2005/8/layout/vList2"/>
    <dgm:cxn modelId="{B70B0A28-9142-4A37-AF9D-87A72BD1A03B}" type="presOf" srcId="{93470E97-62DA-4437-BF0F-952B9632A736}" destId="{E8C00508-32DC-4BE3-B7EF-F676BA115096}" srcOrd="0" destOrd="0" presId="urn:microsoft.com/office/officeart/2005/8/layout/vList2"/>
    <dgm:cxn modelId="{A4B9B13C-96A4-4CDD-AA3D-814E2D4E49C9}" srcId="{31990801-8801-43CC-82E4-0B6322AEF2BB}" destId="{059F4208-E4FE-4A95-AD87-3CE7BEEE00CD}" srcOrd="0" destOrd="0" parTransId="{59E4397A-F1E1-40DD-B245-37877AF0C985}" sibTransId="{96E31DFB-72B4-48D7-849A-B486D664B4B3}"/>
    <dgm:cxn modelId="{A591EA9C-5AD1-4055-AF26-0934F4D41661}" srcId="{31990801-8801-43CC-82E4-0B6322AEF2BB}" destId="{93470E97-62DA-4437-BF0F-952B9632A736}" srcOrd="2" destOrd="0" parTransId="{ADDCD895-5C0A-4FFB-9C27-9D09E4C88C6E}" sibTransId="{3DB9F47E-51CB-4ADE-9E32-9B6821D7A20A}"/>
    <dgm:cxn modelId="{34A172B0-4DB6-4484-B813-A5949E42CDA8}" type="presOf" srcId="{43167AA7-5745-4C1A-97B4-3A29F17091C2}" destId="{20BE7274-C8B5-47E9-A5CE-159D2B55E170}" srcOrd="0" destOrd="0" presId="urn:microsoft.com/office/officeart/2005/8/layout/vList2"/>
    <dgm:cxn modelId="{8797E2DC-D438-4DF7-B20E-D25AB66AD6FA}" srcId="{31990801-8801-43CC-82E4-0B6322AEF2BB}" destId="{43167AA7-5745-4C1A-97B4-3A29F17091C2}" srcOrd="1" destOrd="0" parTransId="{2FCDF66D-9827-40C9-9502-53D96FFD111C}" sibTransId="{1A51CB74-A717-4478-BC59-C75814AB9A5F}"/>
    <dgm:cxn modelId="{D2B298EA-D81D-4DDD-BC70-891396693373}" type="presOf" srcId="{31990801-8801-43CC-82E4-0B6322AEF2BB}" destId="{8A75F6A2-CD50-4647-ADDE-430DBFBE6C25}" srcOrd="0" destOrd="0" presId="urn:microsoft.com/office/officeart/2005/8/layout/vList2"/>
    <dgm:cxn modelId="{87138F22-87BD-4668-8EF6-B49DD431F581}" type="presParOf" srcId="{8A75F6A2-CD50-4647-ADDE-430DBFBE6C25}" destId="{1B18DB39-2C2C-4F77-AB20-79DD0D2B6ED7}" srcOrd="0" destOrd="0" presId="urn:microsoft.com/office/officeart/2005/8/layout/vList2"/>
    <dgm:cxn modelId="{D589FD69-B7C0-440A-BBF3-081915519B62}" type="presParOf" srcId="{8A75F6A2-CD50-4647-ADDE-430DBFBE6C25}" destId="{B1138796-BFAF-499D-954B-518CF42509F6}" srcOrd="1" destOrd="0" presId="urn:microsoft.com/office/officeart/2005/8/layout/vList2"/>
    <dgm:cxn modelId="{5C659AFB-1F19-4953-8388-BC6961730B82}" type="presParOf" srcId="{8A75F6A2-CD50-4647-ADDE-430DBFBE6C25}" destId="{20BE7274-C8B5-47E9-A5CE-159D2B55E170}" srcOrd="2" destOrd="0" presId="urn:microsoft.com/office/officeart/2005/8/layout/vList2"/>
    <dgm:cxn modelId="{F19B2707-BF29-4326-A595-B97DF8D0C2FB}" type="presParOf" srcId="{8A75F6A2-CD50-4647-ADDE-430DBFBE6C25}" destId="{28809A86-14A6-450E-A000-C720A2CAA933}" srcOrd="3" destOrd="0" presId="urn:microsoft.com/office/officeart/2005/8/layout/vList2"/>
    <dgm:cxn modelId="{9D226CC4-92B6-46CF-83FC-6CC99CAD3398}" type="presParOf" srcId="{8A75F6A2-CD50-4647-ADDE-430DBFBE6C25}" destId="{E8C00508-32DC-4BE3-B7EF-F676BA115096}" srcOrd="4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31990801-8801-43CC-82E4-0B6322AEF2BB}" type="doc">
      <dgm:prSet loTypeId="urn:microsoft.com/office/officeart/2005/8/layout/vList2" loCatId="list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059F4208-E4FE-4A95-AD87-3CE7BEEE00CD}">
      <dgm:prSet/>
      <dgm:spPr/>
      <dgm:t>
        <a:bodyPr/>
        <a:lstStyle/>
        <a:p>
          <a:pPr algn="r" rtl="1"/>
          <a:r>
            <a:rPr lang="ar-JO" b="0" dirty="0"/>
            <a:t>كتب أكثر من  50 رواية وقصة</a:t>
          </a:r>
          <a:endParaRPr lang="en-US" dirty="0"/>
        </a:p>
      </dgm:t>
    </dgm:pt>
    <dgm:pt modelId="{59E4397A-F1E1-40DD-B245-37877AF0C985}" type="parTrans" cxnId="{A4B9B13C-96A4-4CDD-AA3D-814E2D4E49C9}">
      <dgm:prSet/>
      <dgm:spPr/>
      <dgm:t>
        <a:bodyPr/>
        <a:lstStyle/>
        <a:p>
          <a:endParaRPr lang="en-US"/>
        </a:p>
      </dgm:t>
    </dgm:pt>
    <dgm:pt modelId="{96E31DFB-72B4-48D7-849A-B486D664B4B3}" type="sibTrans" cxnId="{A4B9B13C-96A4-4CDD-AA3D-814E2D4E49C9}">
      <dgm:prSet/>
      <dgm:spPr/>
      <dgm:t>
        <a:bodyPr/>
        <a:lstStyle/>
        <a:p>
          <a:endParaRPr lang="en-US"/>
        </a:p>
      </dgm:t>
    </dgm:pt>
    <dgm:pt modelId="{43167AA7-5745-4C1A-97B4-3A29F17091C2}">
      <dgm:prSet/>
      <dgm:spPr/>
      <dgm:t>
        <a:bodyPr/>
        <a:lstStyle/>
        <a:p>
          <a:pPr algn="r" rtl="1"/>
          <a:r>
            <a:rPr lang="ar-JO" b="0" dirty="0"/>
            <a:t>أعماله تُرجمت إلى لغات عديدة</a:t>
          </a:r>
          <a:endParaRPr lang="en-US" dirty="0"/>
        </a:p>
      </dgm:t>
    </dgm:pt>
    <dgm:pt modelId="{2FCDF66D-9827-40C9-9502-53D96FFD111C}" type="parTrans" cxnId="{8797E2DC-D438-4DF7-B20E-D25AB66AD6FA}">
      <dgm:prSet/>
      <dgm:spPr/>
      <dgm:t>
        <a:bodyPr/>
        <a:lstStyle/>
        <a:p>
          <a:endParaRPr lang="en-US"/>
        </a:p>
      </dgm:t>
    </dgm:pt>
    <dgm:pt modelId="{1A51CB74-A717-4478-BC59-C75814AB9A5F}" type="sibTrans" cxnId="{8797E2DC-D438-4DF7-B20E-D25AB66AD6FA}">
      <dgm:prSet/>
      <dgm:spPr/>
      <dgm:t>
        <a:bodyPr/>
        <a:lstStyle/>
        <a:p>
          <a:endParaRPr lang="en-US"/>
        </a:p>
      </dgm:t>
    </dgm:pt>
    <dgm:pt modelId="{93470E97-62DA-4437-BF0F-952B9632A736}">
      <dgm:prSet/>
      <dgm:spPr/>
      <dgm:t>
        <a:bodyPr/>
        <a:lstStyle/>
        <a:p>
          <a:pPr algn="r" rtl="1"/>
          <a:r>
            <a:rPr lang="ar-JO" b="0" dirty="0"/>
            <a:t>حصل على جائزة نوبل في الأدب</a:t>
          </a:r>
          <a:endParaRPr lang="en-US" dirty="0"/>
        </a:p>
      </dgm:t>
    </dgm:pt>
    <dgm:pt modelId="{ADDCD895-5C0A-4FFB-9C27-9D09E4C88C6E}" type="parTrans" cxnId="{A591EA9C-5AD1-4055-AF26-0934F4D41661}">
      <dgm:prSet/>
      <dgm:spPr/>
      <dgm:t>
        <a:bodyPr/>
        <a:lstStyle/>
        <a:p>
          <a:endParaRPr lang="en-US"/>
        </a:p>
      </dgm:t>
    </dgm:pt>
    <dgm:pt modelId="{3DB9F47E-51CB-4ADE-9E32-9B6821D7A20A}" type="sibTrans" cxnId="{A591EA9C-5AD1-4055-AF26-0934F4D41661}">
      <dgm:prSet/>
      <dgm:spPr/>
      <dgm:t>
        <a:bodyPr/>
        <a:lstStyle/>
        <a:p>
          <a:endParaRPr lang="en-US"/>
        </a:p>
      </dgm:t>
    </dgm:pt>
    <dgm:pt modelId="{8A75F6A2-CD50-4647-ADDE-430DBFBE6C25}" type="pres">
      <dgm:prSet presAssocID="{31990801-8801-43CC-82E4-0B6322AEF2BB}" presName="linear" presStyleCnt="0">
        <dgm:presLayoutVars>
          <dgm:animLvl val="lvl"/>
          <dgm:resizeHandles val="exact"/>
        </dgm:presLayoutVars>
      </dgm:prSet>
      <dgm:spPr/>
    </dgm:pt>
    <dgm:pt modelId="{1B18DB39-2C2C-4F77-AB20-79DD0D2B6ED7}" type="pres">
      <dgm:prSet presAssocID="{059F4208-E4FE-4A95-AD87-3CE7BEEE00CD}" presName="parentText" presStyleLbl="node1" presStyleIdx="0" presStyleCnt="3">
        <dgm:presLayoutVars>
          <dgm:chMax val="0"/>
          <dgm:bulletEnabled val="1"/>
        </dgm:presLayoutVars>
      </dgm:prSet>
      <dgm:spPr/>
    </dgm:pt>
    <dgm:pt modelId="{B1138796-BFAF-499D-954B-518CF42509F6}" type="pres">
      <dgm:prSet presAssocID="{96E31DFB-72B4-48D7-849A-B486D664B4B3}" presName="spacer" presStyleCnt="0"/>
      <dgm:spPr/>
    </dgm:pt>
    <dgm:pt modelId="{20BE7274-C8B5-47E9-A5CE-159D2B55E170}" type="pres">
      <dgm:prSet presAssocID="{43167AA7-5745-4C1A-97B4-3A29F17091C2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28809A86-14A6-450E-A000-C720A2CAA933}" type="pres">
      <dgm:prSet presAssocID="{1A51CB74-A717-4478-BC59-C75814AB9A5F}" presName="spacer" presStyleCnt="0"/>
      <dgm:spPr/>
    </dgm:pt>
    <dgm:pt modelId="{E8C00508-32DC-4BE3-B7EF-F676BA115096}" type="pres">
      <dgm:prSet presAssocID="{93470E97-62DA-4437-BF0F-952B9632A736}" presName="parentText" presStyleLbl="node1" presStyleIdx="2" presStyleCnt="3" custLinFactNeighborX="2581" custLinFactNeighborY="24920">
        <dgm:presLayoutVars>
          <dgm:chMax val="0"/>
          <dgm:bulletEnabled val="1"/>
        </dgm:presLayoutVars>
      </dgm:prSet>
      <dgm:spPr/>
    </dgm:pt>
  </dgm:ptLst>
  <dgm:cxnLst>
    <dgm:cxn modelId="{9D1B9103-9DF8-4282-B8E1-579D06947104}" type="presOf" srcId="{059F4208-E4FE-4A95-AD87-3CE7BEEE00CD}" destId="{1B18DB39-2C2C-4F77-AB20-79DD0D2B6ED7}" srcOrd="0" destOrd="0" presId="urn:microsoft.com/office/officeart/2005/8/layout/vList2"/>
    <dgm:cxn modelId="{B70B0A28-9142-4A37-AF9D-87A72BD1A03B}" type="presOf" srcId="{93470E97-62DA-4437-BF0F-952B9632A736}" destId="{E8C00508-32DC-4BE3-B7EF-F676BA115096}" srcOrd="0" destOrd="0" presId="urn:microsoft.com/office/officeart/2005/8/layout/vList2"/>
    <dgm:cxn modelId="{A4B9B13C-96A4-4CDD-AA3D-814E2D4E49C9}" srcId="{31990801-8801-43CC-82E4-0B6322AEF2BB}" destId="{059F4208-E4FE-4A95-AD87-3CE7BEEE00CD}" srcOrd="0" destOrd="0" parTransId="{59E4397A-F1E1-40DD-B245-37877AF0C985}" sibTransId="{96E31DFB-72B4-48D7-849A-B486D664B4B3}"/>
    <dgm:cxn modelId="{A591EA9C-5AD1-4055-AF26-0934F4D41661}" srcId="{31990801-8801-43CC-82E4-0B6322AEF2BB}" destId="{93470E97-62DA-4437-BF0F-952B9632A736}" srcOrd="2" destOrd="0" parTransId="{ADDCD895-5C0A-4FFB-9C27-9D09E4C88C6E}" sibTransId="{3DB9F47E-51CB-4ADE-9E32-9B6821D7A20A}"/>
    <dgm:cxn modelId="{34A172B0-4DB6-4484-B813-A5949E42CDA8}" type="presOf" srcId="{43167AA7-5745-4C1A-97B4-3A29F17091C2}" destId="{20BE7274-C8B5-47E9-A5CE-159D2B55E170}" srcOrd="0" destOrd="0" presId="urn:microsoft.com/office/officeart/2005/8/layout/vList2"/>
    <dgm:cxn modelId="{8797E2DC-D438-4DF7-B20E-D25AB66AD6FA}" srcId="{31990801-8801-43CC-82E4-0B6322AEF2BB}" destId="{43167AA7-5745-4C1A-97B4-3A29F17091C2}" srcOrd="1" destOrd="0" parTransId="{2FCDF66D-9827-40C9-9502-53D96FFD111C}" sibTransId="{1A51CB74-A717-4478-BC59-C75814AB9A5F}"/>
    <dgm:cxn modelId="{D2B298EA-D81D-4DDD-BC70-891396693373}" type="presOf" srcId="{31990801-8801-43CC-82E4-0B6322AEF2BB}" destId="{8A75F6A2-CD50-4647-ADDE-430DBFBE6C25}" srcOrd="0" destOrd="0" presId="urn:microsoft.com/office/officeart/2005/8/layout/vList2"/>
    <dgm:cxn modelId="{87138F22-87BD-4668-8EF6-B49DD431F581}" type="presParOf" srcId="{8A75F6A2-CD50-4647-ADDE-430DBFBE6C25}" destId="{1B18DB39-2C2C-4F77-AB20-79DD0D2B6ED7}" srcOrd="0" destOrd="0" presId="urn:microsoft.com/office/officeart/2005/8/layout/vList2"/>
    <dgm:cxn modelId="{D589FD69-B7C0-440A-BBF3-081915519B62}" type="presParOf" srcId="{8A75F6A2-CD50-4647-ADDE-430DBFBE6C25}" destId="{B1138796-BFAF-499D-954B-518CF42509F6}" srcOrd="1" destOrd="0" presId="urn:microsoft.com/office/officeart/2005/8/layout/vList2"/>
    <dgm:cxn modelId="{5C659AFB-1F19-4953-8388-BC6961730B82}" type="presParOf" srcId="{8A75F6A2-CD50-4647-ADDE-430DBFBE6C25}" destId="{20BE7274-C8B5-47E9-A5CE-159D2B55E170}" srcOrd="2" destOrd="0" presId="urn:microsoft.com/office/officeart/2005/8/layout/vList2"/>
    <dgm:cxn modelId="{F19B2707-BF29-4326-A595-B97DF8D0C2FB}" type="presParOf" srcId="{8A75F6A2-CD50-4647-ADDE-430DBFBE6C25}" destId="{28809A86-14A6-450E-A000-C720A2CAA933}" srcOrd="3" destOrd="0" presId="urn:microsoft.com/office/officeart/2005/8/layout/vList2"/>
    <dgm:cxn modelId="{9D226CC4-92B6-46CF-83FC-6CC99CAD3398}" type="presParOf" srcId="{8A75F6A2-CD50-4647-ADDE-430DBFBE6C25}" destId="{E8C00508-32DC-4BE3-B7EF-F676BA115096}" srcOrd="4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3833CDB9-7E1C-4026-9F4A-DE4652783C46}" type="doc">
      <dgm:prSet loTypeId="urn:microsoft.com/office/officeart/2005/8/layout/hierarchy1" loCatId="hierarchy" qsTypeId="urn:microsoft.com/office/officeart/2005/8/quickstyle/simple1" qsCatId="simple" csTypeId="urn:microsoft.com/office/officeart/2005/8/colors/colorful2" csCatId="colorful"/>
      <dgm:spPr/>
      <dgm:t>
        <a:bodyPr/>
        <a:lstStyle/>
        <a:p>
          <a:endParaRPr lang="en-US"/>
        </a:p>
      </dgm:t>
    </dgm:pt>
    <dgm:pt modelId="{32BE8596-C222-4847-AC80-26F8C0D49F7C}">
      <dgm:prSet/>
      <dgm:spPr/>
      <dgm:t>
        <a:bodyPr/>
        <a:lstStyle/>
        <a:p>
          <a:r>
            <a:rPr lang="en-US" b="0"/>
            <a:t>جعل الرواية العربية معروفة عالميًا.</a:t>
          </a:r>
          <a:endParaRPr lang="en-US"/>
        </a:p>
      </dgm:t>
    </dgm:pt>
    <dgm:pt modelId="{194894E4-AA54-4F25-9F7A-6436B56DC2FD}" type="parTrans" cxnId="{7B25F213-7931-4C44-B8CC-A1B7240A4438}">
      <dgm:prSet/>
      <dgm:spPr/>
      <dgm:t>
        <a:bodyPr/>
        <a:lstStyle/>
        <a:p>
          <a:endParaRPr lang="en-US"/>
        </a:p>
      </dgm:t>
    </dgm:pt>
    <dgm:pt modelId="{8A86D0DF-5FA1-4AF6-9822-5CDEBFC5796A}" type="sibTrans" cxnId="{7B25F213-7931-4C44-B8CC-A1B7240A4438}">
      <dgm:prSet/>
      <dgm:spPr/>
      <dgm:t>
        <a:bodyPr/>
        <a:lstStyle/>
        <a:p>
          <a:endParaRPr lang="en-US"/>
        </a:p>
      </dgm:t>
    </dgm:pt>
    <dgm:pt modelId="{246E9AC2-74DB-4867-A182-74F5250CE43B}">
      <dgm:prSet/>
      <dgm:spPr/>
      <dgm:t>
        <a:bodyPr/>
        <a:lstStyle/>
        <a:p>
          <a:r>
            <a:rPr lang="en-US" b="0"/>
            <a:t>كتب عن الإنسان والمجتمع بطريقة واقعية.</a:t>
          </a:r>
          <a:endParaRPr lang="en-US"/>
        </a:p>
      </dgm:t>
    </dgm:pt>
    <dgm:pt modelId="{ED77492F-40F2-4AA9-B024-D842F005A353}" type="parTrans" cxnId="{BD519F3F-885A-4758-9A24-2D60968FE37C}">
      <dgm:prSet/>
      <dgm:spPr/>
      <dgm:t>
        <a:bodyPr/>
        <a:lstStyle/>
        <a:p>
          <a:endParaRPr lang="en-US"/>
        </a:p>
      </dgm:t>
    </dgm:pt>
    <dgm:pt modelId="{A4ADDF08-F788-40CF-A397-B43400ACB892}" type="sibTrans" cxnId="{BD519F3F-885A-4758-9A24-2D60968FE37C}">
      <dgm:prSet/>
      <dgm:spPr/>
      <dgm:t>
        <a:bodyPr/>
        <a:lstStyle/>
        <a:p>
          <a:endParaRPr lang="en-US"/>
        </a:p>
      </dgm:t>
    </dgm:pt>
    <dgm:pt modelId="{62C94A77-B410-4BD8-A5EF-B019BF220AC0}">
      <dgm:prSet/>
      <dgm:spPr/>
      <dgm:t>
        <a:bodyPr/>
        <a:lstStyle/>
        <a:p>
          <a:r>
            <a:rPr lang="en-US" b="0"/>
            <a:t>أثّر في الكثير من الأدباء العرب.</a:t>
          </a:r>
          <a:endParaRPr lang="en-US"/>
        </a:p>
      </dgm:t>
    </dgm:pt>
    <dgm:pt modelId="{70983F60-1B72-4F20-8BD0-0D4F37035FD5}" type="parTrans" cxnId="{55F0F6CB-C646-45A0-A9F5-ADD98450B7F0}">
      <dgm:prSet/>
      <dgm:spPr/>
      <dgm:t>
        <a:bodyPr/>
        <a:lstStyle/>
        <a:p>
          <a:endParaRPr lang="en-US"/>
        </a:p>
      </dgm:t>
    </dgm:pt>
    <dgm:pt modelId="{72FDB459-CDE3-47EA-A8AB-A0471D94FD8F}" type="sibTrans" cxnId="{55F0F6CB-C646-45A0-A9F5-ADD98450B7F0}">
      <dgm:prSet/>
      <dgm:spPr/>
      <dgm:t>
        <a:bodyPr/>
        <a:lstStyle/>
        <a:p>
          <a:endParaRPr lang="en-US"/>
        </a:p>
      </dgm:t>
    </dgm:pt>
    <dgm:pt modelId="{06DAC53B-F46C-4186-A9F1-EE97B9848E0A}" type="pres">
      <dgm:prSet presAssocID="{3833CDB9-7E1C-4026-9F4A-DE4652783C46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98ECD12B-6E3F-4832-8579-15BC7A653DF3}" type="pres">
      <dgm:prSet presAssocID="{32BE8596-C222-4847-AC80-26F8C0D49F7C}" presName="hierRoot1" presStyleCnt="0"/>
      <dgm:spPr/>
    </dgm:pt>
    <dgm:pt modelId="{C76A15E2-CF4F-404B-A8C1-8ED9AEED821B}" type="pres">
      <dgm:prSet presAssocID="{32BE8596-C222-4847-AC80-26F8C0D49F7C}" presName="composite" presStyleCnt="0"/>
      <dgm:spPr/>
    </dgm:pt>
    <dgm:pt modelId="{3645D546-25E5-4C24-94C8-0F883ACFFFFF}" type="pres">
      <dgm:prSet presAssocID="{32BE8596-C222-4847-AC80-26F8C0D49F7C}" presName="background" presStyleLbl="node0" presStyleIdx="0" presStyleCnt="3"/>
      <dgm:spPr>
        <a:solidFill>
          <a:schemeClr val="accent3"/>
        </a:solidFill>
      </dgm:spPr>
    </dgm:pt>
    <dgm:pt modelId="{6BFEE06E-7E25-41C4-859F-7A2D817C4DF5}" type="pres">
      <dgm:prSet presAssocID="{32BE8596-C222-4847-AC80-26F8C0D49F7C}" presName="text" presStyleLbl="fgAcc0" presStyleIdx="0" presStyleCnt="3">
        <dgm:presLayoutVars>
          <dgm:chPref val="3"/>
        </dgm:presLayoutVars>
      </dgm:prSet>
      <dgm:spPr/>
    </dgm:pt>
    <dgm:pt modelId="{2A029BA6-4A64-46E5-A62E-53D6C99B959B}" type="pres">
      <dgm:prSet presAssocID="{32BE8596-C222-4847-AC80-26F8C0D49F7C}" presName="hierChild2" presStyleCnt="0"/>
      <dgm:spPr/>
    </dgm:pt>
    <dgm:pt modelId="{7E78714D-1B1A-4A6C-9F38-9B77CA0DC4B9}" type="pres">
      <dgm:prSet presAssocID="{246E9AC2-74DB-4867-A182-74F5250CE43B}" presName="hierRoot1" presStyleCnt="0"/>
      <dgm:spPr/>
    </dgm:pt>
    <dgm:pt modelId="{CD9ABE94-380C-4006-8318-BF8717DE96EE}" type="pres">
      <dgm:prSet presAssocID="{246E9AC2-74DB-4867-A182-74F5250CE43B}" presName="composite" presStyleCnt="0"/>
      <dgm:spPr/>
    </dgm:pt>
    <dgm:pt modelId="{72BBF7B6-BF2A-4CE8-82CC-6A4C3F28F3DC}" type="pres">
      <dgm:prSet presAssocID="{246E9AC2-74DB-4867-A182-74F5250CE43B}" presName="background" presStyleLbl="node0" presStyleIdx="1" presStyleCnt="3"/>
      <dgm:spPr>
        <a:solidFill>
          <a:srgbClr val="FFC000"/>
        </a:solidFill>
      </dgm:spPr>
    </dgm:pt>
    <dgm:pt modelId="{2DB80D36-E761-489E-8446-E9630CA16F69}" type="pres">
      <dgm:prSet presAssocID="{246E9AC2-74DB-4867-A182-74F5250CE43B}" presName="text" presStyleLbl="fgAcc0" presStyleIdx="1" presStyleCnt="3">
        <dgm:presLayoutVars>
          <dgm:chPref val="3"/>
        </dgm:presLayoutVars>
      </dgm:prSet>
      <dgm:spPr/>
    </dgm:pt>
    <dgm:pt modelId="{297A9C21-6FA3-4D28-9068-E97019CBE9AC}" type="pres">
      <dgm:prSet presAssocID="{246E9AC2-74DB-4867-A182-74F5250CE43B}" presName="hierChild2" presStyleCnt="0"/>
      <dgm:spPr/>
    </dgm:pt>
    <dgm:pt modelId="{C00F271F-3FD6-40B5-A192-800CBE69ADDC}" type="pres">
      <dgm:prSet presAssocID="{62C94A77-B410-4BD8-A5EF-B019BF220AC0}" presName="hierRoot1" presStyleCnt="0"/>
      <dgm:spPr/>
    </dgm:pt>
    <dgm:pt modelId="{E514596A-1EF5-4E7A-B84D-DF9D721F1B54}" type="pres">
      <dgm:prSet presAssocID="{62C94A77-B410-4BD8-A5EF-B019BF220AC0}" presName="composite" presStyleCnt="0"/>
      <dgm:spPr/>
    </dgm:pt>
    <dgm:pt modelId="{F8F0A3A0-5DAF-4FEE-A1E3-5A3719FF932F}" type="pres">
      <dgm:prSet presAssocID="{62C94A77-B410-4BD8-A5EF-B019BF220AC0}" presName="background" presStyleLbl="node0" presStyleIdx="2" presStyleCnt="3"/>
      <dgm:spPr>
        <a:solidFill>
          <a:srgbClr val="C00000"/>
        </a:solidFill>
      </dgm:spPr>
    </dgm:pt>
    <dgm:pt modelId="{F0AB3858-02C0-4984-A36E-37CA7867E9D2}" type="pres">
      <dgm:prSet presAssocID="{62C94A77-B410-4BD8-A5EF-B019BF220AC0}" presName="text" presStyleLbl="fgAcc0" presStyleIdx="2" presStyleCnt="3">
        <dgm:presLayoutVars>
          <dgm:chPref val="3"/>
        </dgm:presLayoutVars>
      </dgm:prSet>
      <dgm:spPr/>
    </dgm:pt>
    <dgm:pt modelId="{F983C5DC-3C64-4978-8020-CBFA30A27467}" type="pres">
      <dgm:prSet presAssocID="{62C94A77-B410-4BD8-A5EF-B019BF220AC0}" presName="hierChild2" presStyleCnt="0"/>
      <dgm:spPr/>
    </dgm:pt>
  </dgm:ptLst>
  <dgm:cxnLst>
    <dgm:cxn modelId="{7B25F213-7931-4C44-B8CC-A1B7240A4438}" srcId="{3833CDB9-7E1C-4026-9F4A-DE4652783C46}" destId="{32BE8596-C222-4847-AC80-26F8C0D49F7C}" srcOrd="0" destOrd="0" parTransId="{194894E4-AA54-4F25-9F7A-6436B56DC2FD}" sibTransId="{8A86D0DF-5FA1-4AF6-9822-5CDEBFC5796A}"/>
    <dgm:cxn modelId="{BD519F3F-885A-4758-9A24-2D60968FE37C}" srcId="{3833CDB9-7E1C-4026-9F4A-DE4652783C46}" destId="{246E9AC2-74DB-4867-A182-74F5250CE43B}" srcOrd="1" destOrd="0" parTransId="{ED77492F-40F2-4AA9-B024-D842F005A353}" sibTransId="{A4ADDF08-F788-40CF-A397-B43400ACB892}"/>
    <dgm:cxn modelId="{9D0A5884-C750-4AEA-8F10-E3E0273CB50B}" type="presOf" srcId="{3833CDB9-7E1C-4026-9F4A-DE4652783C46}" destId="{06DAC53B-F46C-4186-A9F1-EE97B9848E0A}" srcOrd="0" destOrd="0" presId="urn:microsoft.com/office/officeart/2005/8/layout/hierarchy1"/>
    <dgm:cxn modelId="{1D6E889E-D023-4571-A97B-369E2FA8E74C}" type="presOf" srcId="{62C94A77-B410-4BD8-A5EF-B019BF220AC0}" destId="{F0AB3858-02C0-4984-A36E-37CA7867E9D2}" srcOrd="0" destOrd="0" presId="urn:microsoft.com/office/officeart/2005/8/layout/hierarchy1"/>
    <dgm:cxn modelId="{55F0F6CB-C646-45A0-A9F5-ADD98450B7F0}" srcId="{3833CDB9-7E1C-4026-9F4A-DE4652783C46}" destId="{62C94A77-B410-4BD8-A5EF-B019BF220AC0}" srcOrd="2" destOrd="0" parTransId="{70983F60-1B72-4F20-8BD0-0D4F37035FD5}" sibTransId="{72FDB459-CDE3-47EA-A8AB-A0471D94FD8F}"/>
    <dgm:cxn modelId="{9B9533E1-6123-432C-AE68-82C0F7BDC116}" type="presOf" srcId="{246E9AC2-74DB-4867-A182-74F5250CE43B}" destId="{2DB80D36-E761-489E-8446-E9630CA16F69}" srcOrd="0" destOrd="0" presId="urn:microsoft.com/office/officeart/2005/8/layout/hierarchy1"/>
    <dgm:cxn modelId="{99F376FA-C05A-4AFC-9E37-8C107AF973FB}" type="presOf" srcId="{32BE8596-C222-4847-AC80-26F8C0D49F7C}" destId="{6BFEE06E-7E25-41C4-859F-7A2D817C4DF5}" srcOrd="0" destOrd="0" presId="urn:microsoft.com/office/officeart/2005/8/layout/hierarchy1"/>
    <dgm:cxn modelId="{27AE8DFA-8DB3-4E3E-967F-DE3A0BBDA3F0}" type="presParOf" srcId="{06DAC53B-F46C-4186-A9F1-EE97B9848E0A}" destId="{98ECD12B-6E3F-4832-8579-15BC7A653DF3}" srcOrd="0" destOrd="0" presId="urn:microsoft.com/office/officeart/2005/8/layout/hierarchy1"/>
    <dgm:cxn modelId="{63F59AD9-3DFA-48FE-A8F6-BEE3A4D69BA4}" type="presParOf" srcId="{98ECD12B-6E3F-4832-8579-15BC7A653DF3}" destId="{C76A15E2-CF4F-404B-A8C1-8ED9AEED821B}" srcOrd="0" destOrd="0" presId="urn:microsoft.com/office/officeart/2005/8/layout/hierarchy1"/>
    <dgm:cxn modelId="{44156FB3-1B42-4200-98C5-3E80E158E509}" type="presParOf" srcId="{C76A15E2-CF4F-404B-A8C1-8ED9AEED821B}" destId="{3645D546-25E5-4C24-94C8-0F883ACFFFFF}" srcOrd="0" destOrd="0" presId="urn:microsoft.com/office/officeart/2005/8/layout/hierarchy1"/>
    <dgm:cxn modelId="{E24F4835-20D0-469B-B4EC-C6690FD32C05}" type="presParOf" srcId="{C76A15E2-CF4F-404B-A8C1-8ED9AEED821B}" destId="{6BFEE06E-7E25-41C4-859F-7A2D817C4DF5}" srcOrd="1" destOrd="0" presId="urn:microsoft.com/office/officeart/2005/8/layout/hierarchy1"/>
    <dgm:cxn modelId="{F39136AE-5A56-4D24-8BBF-54D11FE241D0}" type="presParOf" srcId="{98ECD12B-6E3F-4832-8579-15BC7A653DF3}" destId="{2A029BA6-4A64-46E5-A62E-53D6C99B959B}" srcOrd="1" destOrd="0" presId="urn:microsoft.com/office/officeart/2005/8/layout/hierarchy1"/>
    <dgm:cxn modelId="{8924D9CE-F254-466F-A761-F5B7A7A4BFBB}" type="presParOf" srcId="{06DAC53B-F46C-4186-A9F1-EE97B9848E0A}" destId="{7E78714D-1B1A-4A6C-9F38-9B77CA0DC4B9}" srcOrd="1" destOrd="0" presId="urn:microsoft.com/office/officeart/2005/8/layout/hierarchy1"/>
    <dgm:cxn modelId="{517CF1D0-4079-421B-B4A6-35913F1FD41D}" type="presParOf" srcId="{7E78714D-1B1A-4A6C-9F38-9B77CA0DC4B9}" destId="{CD9ABE94-380C-4006-8318-BF8717DE96EE}" srcOrd="0" destOrd="0" presId="urn:microsoft.com/office/officeart/2005/8/layout/hierarchy1"/>
    <dgm:cxn modelId="{BED8C0EE-9EBC-4AC2-B91B-DD7160EF2505}" type="presParOf" srcId="{CD9ABE94-380C-4006-8318-BF8717DE96EE}" destId="{72BBF7B6-BF2A-4CE8-82CC-6A4C3F28F3DC}" srcOrd="0" destOrd="0" presId="urn:microsoft.com/office/officeart/2005/8/layout/hierarchy1"/>
    <dgm:cxn modelId="{E5202174-4882-4C3E-B929-74F5BA3A846C}" type="presParOf" srcId="{CD9ABE94-380C-4006-8318-BF8717DE96EE}" destId="{2DB80D36-E761-489E-8446-E9630CA16F69}" srcOrd="1" destOrd="0" presId="urn:microsoft.com/office/officeart/2005/8/layout/hierarchy1"/>
    <dgm:cxn modelId="{5AFFFF15-1912-4495-8C81-D48848D74C48}" type="presParOf" srcId="{7E78714D-1B1A-4A6C-9F38-9B77CA0DC4B9}" destId="{297A9C21-6FA3-4D28-9068-E97019CBE9AC}" srcOrd="1" destOrd="0" presId="urn:microsoft.com/office/officeart/2005/8/layout/hierarchy1"/>
    <dgm:cxn modelId="{260BCDA0-7795-4CBE-9E54-E2963DCA2651}" type="presParOf" srcId="{06DAC53B-F46C-4186-A9F1-EE97B9848E0A}" destId="{C00F271F-3FD6-40B5-A192-800CBE69ADDC}" srcOrd="2" destOrd="0" presId="urn:microsoft.com/office/officeart/2005/8/layout/hierarchy1"/>
    <dgm:cxn modelId="{5A054F75-EA61-4E2D-A8F5-6A15A913F21F}" type="presParOf" srcId="{C00F271F-3FD6-40B5-A192-800CBE69ADDC}" destId="{E514596A-1EF5-4E7A-B84D-DF9D721F1B54}" srcOrd="0" destOrd="0" presId="urn:microsoft.com/office/officeart/2005/8/layout/hierarchy1"/>
    <dgm:cxn modelId="{A822F936-DAB8-461A-B49D-BE5A45B1E043}" type="presParOf" srcId="{E514596A-1EF5-4E7A-B84D-DF9D721F1B54}" destId="{F8F0A3A0-5DAF-4FEE-A1E3-5A3719FF932F}" srcOrd="0" destOrd="0" presId="urn:microsoft.com/office/officeart/2005/8/layout/hierarchy1"/>
    <dgm:cxn modelId="{D4E7397D-6DA6-4FA3-8612-6B68E83FAF37}" type="presParOf" srcId="{E514596A-1EF5-4E7A-B84D-DF9D721F1B54}" destId="{F0AB3858-02C0-4984-A36E-37CA7867E9D2}" srcOrd="1" destOrd="0" presId="urn:microsoft.com/office/officeart/2005/8/layout/hierarchy1"/>
    <dgm:cxn modelId="{59416AEE-A141-45BF-93D6-19D91E2116BD}" type="presParOf" srcId="{C00F271F-3FD6-40B5-A192-800CBE69ADDC}" destId="{F983C5DC-3C64-4978-8020-CBFA30A27467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76430B5-CB64-4CB7-BE61-A321629919DF}">
      <dsp:nvSpPr>
        <dsp:cNvPr id="0" name=""/>
        <dsp:cNvSpPr/>
      </dsp:nvSpPr>
      <dsp:spPr>
        <a:xfrm>
          <a:off x="0" y="3650"/>
          <a:ext cx="5175384" cy="1310930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5730" tIns="125730" rIns="125730" bIns="125730" numCol="1" spcCol="1270" anchor="ctr" anchorCtr="0">
          <a:noAutofit/>
        </a:bodyPr>
        <a:lstStyle/>
        <a:p>
          <a:pPr marL="0" lvl="0" indent="0" algn="r" defTabSz="1466850" rtl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300" b="0" kern="1200" dirty="0" err="1"/>
            <a:t>هو</a:t>
          </a:r>
          <a:r>
            <a:rPr lang="en-US" sz="3300" b="0" kern="1200" dirty="0"/>
            <a:t> </a:t>
          </a:r>
          <a:r>
            <a:rPr lang="en-US" sz="3300" b="0" kern="1200" dirty="0" err="1"/>
            <a:t>كاتب</a:t>
          </a:r>
          <a:r>
            <a:rPr lang="en-US" sz="3300" b="0" kern="1200" dirty="0"/>
            <a:t> </a:t>
          </a:r>
          <a:r>
            <a:rPr lang="en-US" sz="3300" b="0" kern="1200" dirty="0" err="1"/>
            <a:t>وروائي</a:t>
          </a:r>
          <a:r>
            <a:rPr lang="en-US" sz="3300" b="0" kern="1200" dirty="0"/>
            <a:t> </a:t>
          </a:r>
          <a:r>
            <a:rPr lang="en-US" sz="3300" b="0" kern="1200" dirty="0" err="1"/>
            <a:t>مصري</a:t>
          </a:r>
          <a:r>
            <a:rPr lang="en-US" sz="3300" b="0" kern="1200" dirty="0"/>
            <a:t>.</a:t>
          </a:r>
          <a:endParaRPr lang="en-US" sz="3300" kern="1200" dirty="0"/>
        </a:p>
      </dsp:txBody>
      <dsp:txXfrm>
        <a:off x="63994" y="67644"/>
        <a:ext cx="5047396" cy="1182942"/>
      </dsp:txXfrm>
    </dsp:sp>
    <dsp:sp modelId="{DE0B352C-A1B8-4F92-8724-BDDD43D3B5C6}">
      <dsp:nvSpPr>
        <dsp:cNvPr id="0" name=""/>
        <dsp:cNvSpPr/>
      </dsp:nvSpPr>
      <dsp:spPr>
        <a:xfrm>
          <a:off x="0" y="1409620"/>
          <a:ext cx="5175384" cy="1310930"/>
        </a:xfrm>
        <a:prstGeom prst="roundRect">
          <a:avLst/>
        </a:prstGeom>
        <a:solidFill>
          <a:schemeClr val="accent2">
            <a:hueOff val="1560506"/>
            <a:satOff val="-1946"/>
            <a:lumOff val="458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5730" tIns="125730" rIns="125730" bIns="125730" numCol="1" spcCol="1270" anchor="ctr" anchorCtr="0">
          <a:noAutofit/>
        </a:bodyPr>
        <a:lstStyle/>
        <a:p>
          <a:pPr marL="0" lvl="0" indent="0" algn="r" defTabSz="1466850" rtl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300" b="0" kern="1200" dirty="0" err="1"/>
            <a:t>وُلد</a:t>
          </a:r>
          <a:r>
            <a:rPr lang="en-US" sz="3300" b="0" kern="1200" dirty="0"/>
            <a:t> </a:t>
          </a:r>
          <a:r>
            <a:rPr lang="en-US" sz="3300" b="0" kern="1200" dirty="0" err="1"/>
            <a:t>في</a:t>
          </a:r>
          <a:r>
            <a:rPr lang="en-US" sz="3300" b="0" kern="1200" dirty="0"/>
            <a:t> </a:t>
          </a:r>
          <a:r>
            <a:rPr lang="en-US" sz="3300" b="0" kern="1200" dirty="0" err="1"/>
            <a:t>القاهرة</a:t>
          </a:r>
          <a:r>
            <a:rPr lang="en-US" sz="3300" b="0" kern="1200" dirty="0"/>
            <a:t> </a:t>
          </a:r>
          <a:r>
            <a:rPr lang="en-US" sz="3300" b="0" kern="1200" dirty="0" err="1">
              <a:solidFill>
                <a:prstClr val="white"/>
              </a:solidFill>
              <a:latin typeface="Calibri"/>
              <a:ea typeface="+mn-ea"/>
              <a:cs typeface="+mn-cs"/>
            </a:rPr>
            <a:t>سنة</a:t>
          </a:r>
          <a:r>
            <a:rPr lang="en-US" sz="3300" b="0" kern="1200" dirty="0">
              <a:solidFill>
                <a:prstClr val="white"/>
              </a:solidFill>
              <a:latin typeface="Calibri"/>
              <a:ea typeface="+mn-ea"/>
              <a:cs typeface="+mn-cs"/>
            </a:rPr>
            <a:t> 1911</a:t>
          </a:r>
          <a:endParaRPr lang="en-US" sz="3300" kern="1200" dirty="0"/>
        </a:p>
      </dsp:txBody>
      <dsp:txXfrm>
        <a:off x="63994" y="1473614"/>
        <a:ext cx="5047396" cy="1182942"/>
      </dsp:txXfrm>
    </dsp:sp>
    <dsp:sp modelId="{8DDF3468-CAC1-4A55-B842-1D0778765E3A}">
      <dsp:nvSpPr>
        <dsp:cNvPr id="0" name=""/>
        <dsp:cNvSpPr/>
      </dsp:nvSpPr>
      <dsp:spPr>
        <a:xfrm>
          <a:off x="0" y="2815590"/>
          <a:ext cx="5175384" cy="1310930"/>
        </a:xfrm>
        <a:prstGeom prst="roundRect">
          <a:avLst/>
        </a:prstGeom>
        <a:solidFill>
          <a:schemeClr val="accent2">
            <a:hueOff val="3121013"/>
            <a:satOff val="-3893"/>
            <a:lumOff val="91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5730" tIns="125730" rIns="125730" bIns="125730" numCol="1" spcCol="1270" anchor="ctr" anchorCtr="0">
          <a:noAutofit/>
        </a:bodyPr>
        <a:lstStyle/>
        <a:p>
          <a:pPr marL="0" lvl="0" indent="0" algn="r" defTabSz="1466850" rtl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300" b="0" kern="1200" dirty="0" err="1"/>
            <a:t>يُعد</a:t>
          </a:r>
          <a:r>
            <a:rPr lang="en-US" sz="3300" b="0" kern="1200" dirty="0"/>
            <a:t> </a:t>
          </a:r>
          <a:r>
            <a:rPr lang="en-US" sz="3300" b="0" kern="1200" dirty="0" err="1"/>
            <a:t>من</a:t>
          </a:r>
          <a:r>
            <a:rPr lang="en-US" sz="3300" b="0" kern="1200" dirty="0"/>
            <a:t> </a:t>
          </a:r>
          <a:r>
            <a:rPr lang="en-US" sz="3300" b="0" kern="1200" dirty="0" err="1"/>
            <a:t>أهم</a:t>
          </a:r>
          <a:r>
            <a:rPr lang="en-US" sz="3300" b="0" kern="1200" dirty="0"/>
            <a:t> </a:t>
          </a:r>
          <a:r>
            <a:rPr lang="en-US" sz="3300" b="0" kern="1200" dirty="0" err="1"/>
            <a:t>الأدباء</a:t>
          </a:r>
          <a:r>
            <a:rPr lang="en-US" sz="3300" b="0" kern="1200" dirty="0"/>
            <a:t> </a:t>
          </a:r>
          <a:r>
            <a:rPr lang="en-US" sz="3300" b="0" kern="1200" dirty="0" err="1"/>
            <a:t>العرب</a:t>
          </a:r>
          <a:r>
            <a:rPr lang="en-US" sz="3300" b="0" kern="1200" dirty="0"/>
            <a:t>.</a:t>
          </a:r>
          <a:endParaRPr lang="en-US" sz="3300" kern="1200" dirty="0"/>
        </a:p>
      </dsp:txBody>
      <dsp:txXfrm>
        <a:off x="63994" y="2879584"/>
        <a:ext cx="5047396" cy="1182942"/>
      </dsp:txXfrm>
    </dsp:sp>
    <dsp:sp modelId="{AFF5E740-39CD-4056-8B84-2B4A41E686AB}">
      <dsp:nvSpPr>
        <dsp:cNvPr id="0" name=""/>
        <dsp:cNvSpPr/>
      </dsp:nvSpPr>
      <dsp:spPr>
        <a:xfrm>
          <a:off x="0" y="4221560"/>
          <a:ext cx="5175384" cy="1310930"/>
        </a:xfrm>
        <a:prstGeom prst="roundRect">
          <a:avLst/>
        </a:prstGeom>
        <a:solidFill>
          <a:schemeClr val="accent2">
            <a:hueOff val="4681519"/>
            <a:satOff val="-5839"/>
            <a:lumOff val="1373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5730" tIns="125730" rIns="125730" bIns="125730" numCol="1" spcCol="1270" anchor="ctr" anchorCtr="0">
          <a:noAutofit/>
        </a:bodyPr>
        <a:lstStyle/>
        <a:p>
          <a:pPr marL="0" lvl="0" indent="0" algn="r" defTabSz="1466850" rtl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300" b="0" kern="1200" dirty="0" err="1"/>
            <a:t>أول</a:t>
          </a:r>
          <a:r>
            <a:rPr lang="en-US" sz="3300" b="0" kern="1200" dirty="0"/>
            <a:t> </a:t>
          </a:r>
          <a:r>
            <a:rPr lang="en-US" sz="3300" b="0" kern="1200" dirty="0" err="1"/>
            <a:t>عربي</a:t>
          </a:r>
          <a:r>
            <a:rPr lang="en-US" sz="3300" b="0" kern="1200" dirty="0"/>
            <a:t> </a:t>
          </a:r>
          <a:r>
            <a:rPr lang="en-US" sz="3300" b="0" kern="1200" dirty="0" err="1"/>
            <a:t>يحصل</a:t>
          </a:r>
          <a:r>
            <a:rPr lang="en-US" sz="3300" b="0" kern="1200" dirty="0"/>
            <a:t> </a:t>
          </a:r>
          <a:r>
            <a:rPr lang="en-US" sz="3300" b="0" kern="1200" dirty="0" err="1"/>
            <a:t>على</a:t>
          </a:r>
          <a:r>
            <a:rPr lang="en-US" sz="3300" b="0" kern="1200" dirty="0"/>
            <a:t> </a:t>
          </a:r>
          <a:r>
            <a:rPr lang="en-US" sz="3300" b="0" kern="1200" dirty="0" err="1"/>
            <a:t>جائزة</a:t>
          </a:r>
          <a:r>
            <a:rPr lang="en-US" sz="3300" b="0" kern="1200" dirty="0"/>
            <a:t> </a:t>
          </a:r>
          <a:r>
            <a:rPr lang="en-US" sz="3300" b="0" kern="1200" dirty="0" err="1"/>
            <a:t>نوبل</a:t>
          </a:r>
          <a:r>
            <a:rPr lang="en-US" sz="3300" b="0" kern="1200" dirty="0"/>
            <a:t> </a:t>
          </a:r>
          <a:r>
            <a:rPr lang="en-US" sz="3300" b="0" kern="1200" dirty="0" err="1"/>
            <a:t>في</a:t>
          </a:r>
          <a:r>
            <a:rPr lang="en-US" sz="3300" b="0" kern="1200" dirty="0"/>
            <a:t> </a:t>
          </a:r>
          <a:r>
            <a:rPr lang="en-US" sz="3300" b="0" kern="1200" dirty="0" err="1"/>
            <a:t>الأدب</a:t>
          </a:r>
          <a:r>
            <a:rPr lang="en-US" sz="3300" b="0" kern="1200" dirty="0"/>
            <a:t>.</a:t>
          </a:r>
          <a:endParaRPr lang="en-US" sz="3300" kern="1200" dirty="0"/>
        </a:p>
      </dsp:txBody>
      <dsp:txXfrm>
        <a:off x="63994" y="4285554"/>
        <a:ext cx="5047396" cy="1182942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579316F-C55A-4369-AF9C-C6556C44FA60}">
      <dsp:nvSpPr>
        <dsp:cNvPr id="0" name=""/>
        <dsp:cNvSpPr/>
      </dsp:nvSpPr>
      <dsp:spPr>
        <a:xfrm>
          <a:off x="0" y="19490"/>
          <a:ext cx="5175384" cy="1747906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7640" tIns="167640" rIns="167640" bIns="167640" numCol="1" spcCol="1270" anchor="ctr" anchorCtr="0">
          <a:noAutofit/>
        </a:bodyPr>
        <a:lstStyle/>
        <a:p>
          <a:pPr marL="0" lvl="0" indent="0" algn="r" defTabSz="1955800" rtl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4400" b="0" kern="1200" dirty="0" err="1"/>
            <a:t>نشأ</a:t>
          </a:r>
          <a:r>
            <a:rPr lang="en-US" sz="4400" b="0" kern="1200" dirty="0"/>
            <a:t> </a:t>
          </a:r>
          <a:r>
            <a:rPr lang="en-US" sz="4400" b="0" kern="1200" dirty="0" err="1"/>
            <a:t>في</a:t>
          </a:r>
          <a:r>
            <a:rPr lang="en-US" sz="4400" b="0" kern="1200" dirty="0"/>
            <a:t> </a:t>
          </a:r>
          <a:r>
            <a:rPr lang="en-US" sz="4400" b="0" kern="1200" dirty="0" err="1"/>
            <a:t>حي</a:t>
          </a:r>
          <a:r>
            <a:rPr lang="en-US" sz="4400" b="0" kern="1200" dirty="0"/>
            <a:t> </a:t>
          </a:r>
          <a:r>
            <a:rPr lang="en-US" sz="4400" b="0" kern="1200" dirty="0" err="1"/>
            <a:t>شعبي</a:t>
          </a:r>
          <a:r>
            <a:rPr lang="en-US" sz="4400" b="0" kern="1200" dirty="0"/>
            <a:t> </a:t>
          </a:r>
          <a:r>
            <a:rPr lang="en-US" sz="4400" b="0" kern="1200" dirty="0" err="1"/>
            <a:t>بالقاهرة</a:t>
          </a:r>
          <a:r>
            <a:rPr lang="en-US" sz="4400" b="0" kern="1200" dirty="0"/>
            <a:t>.</a:t>
          </a:r>
          <a:endParaRPr lang="en-US" sz="4400" kern="1200" dirty="0"/>
        </a:p>
      </dsp:txBody>
      <dsp:txXfrm>
        <a:off x="85326" y="104816"/>
        <a:ext cx="5004732" cy="1577254"/>
      </dsp:txXfrm>
    </dsp:sp>
    <dsp:sp modelId="{C182D8A7-9276-493D-A7DF-AB5A39FD3229}">
      <dsp:nvSpPr>
        <dsp:cNvPr id="0" name=""/>
        <dsp:cNvSpPr/>
      </dsp:nvSpPr>
      <dsp:spPr>
        <a:xfrm>
          <a:off x="0" y="1894117"/>
          <a:ext cx="5175384" cy="1747906"/>
        </a:xfrm>
        <a:prstGeom prst="roundRect">
          <a:avLst/>
        </a:prstGeom>
        <a:solidFill>
          <a:schemeClr val="accent2">
            <a:hueOff val="2340759"/>
            <a:satOff val="-2919"/>
            <a:lumOff val="686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7640" tIns="167640" rIns="167640" bIns="167640" numCol="1" spcCol="1270" anchor="ctr" anchorCtr="0">
          <a:noAutofit/>
        </a:bodyPr>
        <a:lstStyle/>
        <a:p>
          <a:pPr marL="0" lvl="0" indent="0" algn="r" defTabSz="1955800" rtl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4400" b="0" kern="1200" dirty="0" err="1"/>
            <a:t>درس</a:t>
          </a:r>
          <a:r>
            <a:rPr lang="en-US" sz="4400" b="0" kern="1200" dirty="0"/>
            <a:t> </a:t>
          </a:r>
          <a:r>
            <a:rPr lang="en-US" sz="4400" b="0" kern="1200" dirty="0" err="1"/>
            <a:t>الفلسفة</a:t>
          </a:r>
          <a:r>
            <a:rPr lang="en-US" sz="4400" b="0" kern="1200" dirty="0"/>
            <a:t> </a:t>
          </a:r>
          <a:r>
            <a:rPr lang="en-US" sz="4400" b="0" kern="1200" dirty="0" err="1"/>
            <a:t>في</a:t>
          </a:r>
          <a:r>
            <a:rPr lang="en-US" sz="4400" b="0" kern="1200" dirty="0"/>
            <a:t> </a:t>
          </a:r>
          <a:r>
            <a:rPr lang="en-US" sz="4400" b="0" kern="1200" dirty="0" err="1"/>
            <a:t>جامعة</a:t>
          </a:r>
          <a:r>
            <a:rPr lang="en-US" sz="4400" b="0" kern="1200" dirty="0"/>
            <a:t> </a:t>
          </a:r>
          <a:r>
            <a:rPr lang="en-US" sz="4400" b="0" kern="1200" dirty="0" err="1"/>
            <a:t>القاهرة</a:t>
          </a:r>
          <a:r>
            <a:rPr lang="en-US" sz="4400" b="0" kern="1200" dirty="0"/>
            <a:t>.</a:t>
          </a:r>
          <a:endParaRPr lang="en-US" sz="4400" kern="1200" dirty="0"/>
        </a:p>
      </dsp:txBody>
      <dsp:txXfrm>
        <a:off x="85326" y="1979443"/>
        <a:ext cx="5004732" cy="1577254"/>
      </dsp:txXfrm>
    </dsp:sp>
    <dsp:sp modelId="{CD09DA5C-5BB4-4635-A34F-F46B1BA8E638}">
      <dsp:nvSpPr>
        <dsp:cNvPr id="0" name=""/>
        <dsp:cNvSpPr/>
      </dsp:nvSpPr>
      <dsp:spPr>
        <a:xfrm>
          <a:off x="0" y="3768743"/>
          <a:ext cx="5175384" cy="1747906"/>
        </a:xfrm>
        <a:prstGeom prst="roundRect">
          <a:avLst/>
        </a:prstGeom>
        <a:solidFill>
          <a:schemeClr val="accent2">
            <a:hueOff val="4681519"/>
            <a:satOff val="-5839"/>
            <a:lumOff val="1373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7640" tIns="167640" rIns="167640" bIns="167640" numCol="1" spcCol="1270" anchor="ctr" anchorCtr="0">
          <a:noAutofit/>
        </a:bodyPr>
        <a:lstStyle/>
        <a:p>
          <a:pPr marL="0" lvl="0" indent="0" algn="r" defTabSz="1955800" rtl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4400" b="0" kern="1200" dirty="0" err="1"/>
            <a:t>كان</a:t>
          </a:r>
          <a:r>
            <a:rPr lang="en-US" sz="4400" b="0" kern="1200" dirty="0"/>
            <a:t> </a:t>
          </a:r>
          <a:r>
            <a:rPr lang="en-US" sz="4400" b="0" kern="1200" dirty="0" err="1"/>
            <a:t>يكتب</a:t>
          </a:r>
          <a:r>
            <a:rPr lang="en-US" sz="4400" b="0" kern="1200" dirty="0"/>
            <a:t> </a:t>
          </a:r>
          <a:r>
            <a:rPr lang="en-US" sz="4400" b="0" kern="1200" dirty="0" err="1"/>
            <a:t>عن</a:t>
          </a:r>
          <a:r>
            <a:rPr lang="en-US" sz="4400" b="0" kern="1200" dirty="0"/>
            <a:t> </a:t>
          </a:r>
          <a:r>
            <a:rPr lang="en-US" sz="4400" b="0" kern="1200" dirty="0" err="1"/>
            <a:t>حياة</a:t>
          </a:r>
          <a:r>
            <a:rPr lang="en-US" sz="4400" b="0" kern="1200" dirty="0"/>
            <a:t> </a:t>
          </a:r>
          <a:r>
            <a:rPr lang="en-US" sz="4400" b="0" kern="1200" dirty="0" err="1"/>
            <a:t>الناس</a:t>
          </a:r>
          <a:r>
            <a:rPr lang="en-US" sz="4400" b="0" kern="1200" dirty="0"/>
            <a:t> </a:t>
          </a:r>
          <a:r>
            <a:rPr lang="en-US" sz="4400" b="0" kern="1200" dirty="0" err="1"/>
            <a:t>والمجتمع</a:t>
          </a:r>
          <a:r>
            <a:rPr lang="en-US" sz="4400" b="0" kern="1200" dirty="0"/>
            <a:t> </a:t>
          </a:r>
          <a:r>
            <a:rPr lang="en-US" sz="4400" b="0" kern="1200" dirty="0" err="1"/>
            <a:t>من</a:t>
          </a:r>
          <a:r>
            <a:rPr lang="en-US" sz="4400" b="0" kern="1200" dirty="0"/>
            <a:t> </a:t>
          </a:r>
          <a:r>
            <a:rPr lang="en-US" sz="4400" b="0" kern="1200" dirty="0" err="1"/>
            <a:t>حوله</a:t>
          </a:r>
          <a:r>
            <a:rPr lang="en-US" sz="4400" b="0" kern="1200" dirty="0"/>
            <a:t>.</a:t>
          </a:r>
          <a:endParaRPr lang="en-US" sz="4400" kern="1200" dirty="0"/>
        </a:p>
      </dsp:txBody>
      <dsp:txXfrm>
        <a:off x="85326" y="3854069"/>
        <a:ext cx="5004732" cy="1577254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B18DB39-2C2C-4F77-AB20-79DD0D2B6ED7}">
      <dsp:nvSpPr>
        <dsp:cNvPr id="0" name=""/>
        <dsp:cNvSpPr/>
      </dsp:nvSpPr>
      <dsp:spPr>
        <a:xfrm>
          <a:off x="0" y="6895"/>
          <a:ext cx="5175384" cy="1193400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0" tIns="114300" rIns="114300" bIns="114300" numCol="1" spcCol="1270" anchor="ctr" anchorCtr="0">
          <a:noAutofit/>
        </a:bodyPr>
        <a:lstStyle/>
        <a:p>
          <a:pPr marL="0" lvl="0" indent="0" algn="r" defTabSz="1333500" rtl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ar-JO" sz="3000" b="0" kern="1200" dirty="0"/>
            <a:t>الثلاثية</a:t>
          </a:r>
          <a:r>
            <a:rPr lang="en-US" sz="3000" b="0" kern="1200" dirty="0"/>
            <a:t>:</a:t>
          </a:r>
          <a:r>
            <a:rPr lang="ar-JO" sz="3000" b="0" kern="1200" dirty="0"/>
            <a:t> </a:t>
          </a:r>
          <a:r>
            <a:rPr lang="en-US" sz="3000" b="0" kern="1200" dirty="0"/>
            <a:t>)</a:t>
          </a:r>
          <a:r>
            <a:rPr lang="ar-JO" sz="3000" b="0" kern="1200" dirty="0"/>
            <a:t>بين القصرين وقصر الشوق والسكرية</a:t>
          </a:r>
          <a:r>
            <a:rPr lang="en-US" sz="3000" b="0" kern="1200" dirty="0"/>
            <a:t>(</a:t>
          </a:r>
          <a:endParaRPr lang="en-US" sz="3000" kern="1200" dirty="0"/>
        </a:p>
      </dsp:txBody>
      <dsp:txXfrm>
        <a:off x="58257" y="65152"/>
        <a:ext cx="5058870" cy="1076886"/>
      </dsp:txXfrm>
    </dsp:sp>
    <dsp:sp modelId="{20BE7274-C8B5-47E9-A5CE-159D2B55E170}">
      <dsp:nvSpPr>
        <dsp:cNvPr id="0" name=""/>
        <dsp:cNvSpPr/>
      </dsp:nvSpPr>
      <dsp:spPr>
        <a:xfrm>
          <a:off x="0" y="1286695"/>
          <a:ext cx="5175384" cy="1193400"/>
        </a:xfrm>
        <a:prstGeom prst="roundRect">
          <a:avLst/>
        </a:prstGeom>
        <a:solidFill>
          <a:schemeClr val="accent2">
            <a:hueOff val="2340759"/>
            <a:satOff val="-2919"/>
            <a:lumOff val="686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0" tIns="114300" rIns="114300" bIns="114300" numCol="1" spcCol="1270" anchor="ctr" anchorCtr="0">
          <a:noAutofit/>
        </a:bodyPr>
        <a:lstStyle/>
        <a:p>
          <a:pPr marL="0" lvl="0" indent="0" algn="r" defTabSz="1333500" rtl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000" b="0" kern="1200" dirty="0" err="1"/>
            <a:t>رواية</a:t>
          </a:r>
          <a:r>
            <a:rPr lang="en-US" sz="3000" b="0" kern="1200" dirty="0"/>
            <a:t> </a:t>
          </a:r>
          <a:r>
            <a:rPr lang="en-US" sz="3000" b="0" kern="1200" dirty="0" err="1"/>
            <a:t>اللص</a:t>
          </a:r>
          <a:r>
            <a:rPr lang="en-US" sz="3000" b="0" kern="1200" dirty="0"/>
            <a:t> </a:t>
          </a:r>
          <a:r>
            <a:rPr lang="en-US" sz="3000" b="0" kern="1200" dirty="0" err="1"/>
            <a:t>والكلاب</a:t>
          </a:r>
          <a:endParaRPr lang="en-US" sz="3000" kern="1200" dirty="0"/>
        </a:p>
      </dsp:txBody>
      <dsp:txXfrm>
        <a:off x="58257" y="1344952"/>
        <a:ext cx="5058870" cy="1076886"/>
      </dsp:txXfrm>
    </dsp:sp>
    <dsp:sp modelId="{E8C00508-32DC-4BE3-B7EF-F676BA115096}">
      <dsp:nvSpPr>
        <dsp:cNvPr id="0" name=""/>
        <dsp:cNvSpPr/>
      </dsp:nvSpPr>
      <dsp:spPr>
        <a:xfrm>
          <a:off x="0" y="2566495"/>
          <a:ext cx="5175384" cy="1193400"/>
        </a:xfrm>
        <a:prstGeom prst="roundRect">
          <a:avLst/>
        </a:prstGeom>
        <a:solidFill>
          <a:schemeClr val="accent2">
            <a:hueOff val="4681519"/>
            <a:satOff val="-5839"/>
            <a:lumOff val="1373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0" tIns="114300" rIns="114300" bIns="114300" numCol="1" spcCol="1270" anchor="ctr" anchorCtr="0">
          <a:noAutofit/>
        </a:bodyPr>
        <a:lstStyle/>
        <a:p>
          <a:pPr marL="0" lvl="0" indent="0" algn="r" defTabSz="1333500" rtl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000" b="0" kern="1200" dirty="0" err="1"/>
            <a:t>رواية</a:t>
          </a:r>
          <a:r>
            <a:rPr lang="en-US" sz="3000" b="0" kern="1200" dirty="0"/>
            <a:t> </a:t>
          </a:r>
          <a:r>
            <a:rPr lang="en-US" sz="3000" b="0" kern="1200" dirty="0" err="1"/>
            <a:t>زقاق</a:t>
          </a:r>
          <a:r>
            <a:rPr lang="en-US" sz="3000" b="0" kern="1200" dirty="0"/>
            <a:t> </a:t>
          </a:r>
          <a:r>
            <a:rPr lang="en-US" sz="3000" b="0" kern="1200" dirty="0" err="1"/>
            <a:t>المدق</a:t>
          </a:r>
          <a:endParaRPr lang="en-US" sz="3000" kern="1200" dirty="0"/>
        </a:p>
      </dsp:txBody>
      <dsp:txXfrm>
        <a:off x="58257" y="2624752"/>
        <a:ext cx="5058870" cy="1076886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B18DB39-2C2C-4F77-AB20-79DD0D2B6ED7}">
      <dsp:nvSpPr>
        <dsp:cNvPr id="0" name=""/>
        <dsp:cNvSpPr/>
      </dsp:nvSpPr>
      <dsp:spPr>
        <a:xfrm>
          <a:off x="0" y="695146"/>
          <a:ext cx="5175384" cy="863460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7160" tIns="137160" rIns="137160" bIns="137160" numCol="1" spcCol="1270" anchor="ctr" anchorCtr="0">
          <a:noAutofit/>
        </a:bodyPr>
        <a:lstStyle/>
        <a:p>
          <a:pPr marL="0" lvl="0" indent="0" algn="r" defTabSz="1600200" rtl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ar-JO" sz="3600" b="0" kern="1200" dirty="0"/>
            <a:t>كتب أكثر من  50 رواية وقصة</a:t>
          </a:r>
          <a:endParaRPr lang="en-US" sz="3600" kern="1200" dirty="0"/>
        </a:p>
      </dsp:txBody>
      <dsp:txXfrm>
        <a:off x="42151" y="737297"/>
        <a:ext cx="5091082" cy="779158"/>
      </dsp:txXfrm>
    </dsp:sp>
    <dsp:sp modelId="{20BE7274-C8B5-47E9-A5CE-159D2B55E170}">
      <dsp:nvSpPr>
        <dsp:cNvPr id="0" name=""/>
        <dsp:cNvSpPr/>
      </dsp:nvSpPr>
      <dsp:spPr>
        <a:xfrm>
          <a:off x="0" y="1662286"/>
          <a:ext cx="5175384" cy="863460"/>
        </a:xfrm>
        <a:prstGeom prst="roundRect">
          <a:avLst/>
        </a:prstGeom>
        <a:solidFill>
          <a:schemeClr val="accent2">
            <a:hueOff val="2340759"/>
            <a:satOff val="-2919"/>
            <a:lumOff val="686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7160" tIns="137160" rIns="137160" bIns="137160" numCol="1" spcCol="1270" anchor="ctr" anchorCtr="0">
          <a:noAutofit/>
        </a:bodyPr>
        <a:lstStyle/>
        <a:p>
          <a:pPr marL="0" lvl="0" indent="0" algn="r" defTabSz="1600200" rtl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ar-JO" sz="3600" b="0" kern="1200" dirty="0"/>
            <a:t>أعماله تُرجمت إلى لغات عديدة</a:t>
          </a:r>
          <a:endParaRPr lang="en-US" sz="3600" kern="1200" dirty="0"/>
        </a:p>
      </dsp:txBody>
      <dsp:txXfrm>
        <a:off x="42151" y="1704437"/>
        <a:ext cx="5091082" cy="779158"/>
      </dsp:txXfrm>
    </dsp:sp>
    <dsp:sp modelId="{E8C00508-32DC-4BE3-B7EF-F676BA115096}">
      <dsp:nvSpPr>
        <dsp:cNvPr id="0" name=""/>
        <dsp:cNvSpPr/>
      </dsp:nvSpPr>
      <dsp:spPr>
        <a:xfrm>
          <a:off x="0" y="2655263"/>
          <a:ext cx="5175384" cy="863460"/>
        </a:xfrm>
        <a:prstGeom prst="roundRect">
          <a:avLst/>
        </a:prstGeom>
        <a:solidFill>
          <a:schemeClr val="accent2">
            <a:hueOff val="4681519"/>
            <a:satOff val="-5839"/>
            <a:lumOff val="1373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7160" tIns="137160" rIns="137160" bIns="137160" numCol="1" spcCol="1270" anchor="ctr" anchorCtr="0">
          <a:noAutofit/>
        </a:bodyPr>
        <a:lstStyle/>
        <a:p>
          <a:pPr marL="0" lvl="0" indent="0" algn="r" defTabSz="1600200" rtl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ar-JO" sz="3600" b="0" kern="1200" dirty="0"/>
            <a:t>حصل على جائزة نوبل في الأدب</a:t>
          </a:r>
          <a:endParaRPr lang="en-US" sz="3600" kern="1200" dirty="0"/>
        </a:p>
      </dsp:txBody>
      <dsp:txXfrm>
        <a:off x="42151" y="2697414"/>
        <a:ext cx="5091082" cy="779158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645D546-25E5-4C24-94C8-0F883ACFFFFF}">
      <dsp:nvSpPr>
        <dsp:cNvPr id="0" name=""/>
        <dsp:cNvSpPr/>
      </dsp:nvSpPr>
      <dsp:spPr>
        <a:xfrm>
          <a:off x="0" y="794338"/>
          <a:ext cx="2189202" cy="1390143"/>
        </a:xfrm>
        <a:prstGeom prst="roundRect">
          <a:avLst>
            <a:gd name="adj" fmla="val 10000"/>
          </a:avLst>
        </a:prstGeom>
        <a:solidFill>
          <a:schemeClr val="accent3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BFEE06E-7E25-41C4-859F-7A2D817C4DF5}">
      <dsp:nvSpPr>
        <dsp:cNvPr id="0" name=""/>
        <dsp:cNvSpPr/>
      </dsp:nvSpPr>
      <dsp:spPr>
        <a:xfrm>
          <a:off x="243244" y="1025420"/>
          <a:ext cx="2189202" cy="139014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600" b="0" kern="1200"/>
            <a:t>جعل الرواية العربية معروفة عالميًا.</a:t>
          </a:r>
          <a:endParaRPr lang="en-US" sz="2600" kern="1200"/>
        </a:p>
      </dsp:txBody>
      <dsp:txXfrm>
        <a:off x="283960" y="1066136"/>
        <a:ext cx="2107770" cy="1308711"/>
      </dsp:txXfrm>
    </dsp:sp>
    <dsp:sp modelId="{72BBF7B6-BF2A-4CE8-82CC-6A4C3F28F3DC}">
      <dsp:nvSpPr>
        <dsp:cNvPr id="0" name=""/>
        <dsp:cNvSpPr/>
      </dsp:nvSpPr>
      <dsp:spPr>
        <a:xfrm>
          <a:off x="2675691" y="794338"/>
          <a:ext cx="2189202" cy="1390143"/>
        </a:xfrm>
        <a:prstGeom prst="roundRect">
          <a:avLst>
            <a:gd name="adj" fmla="val 10000"/>
          </a:avLst>
        </a:prstGeom>
        <a:solidFill>
          <a:srgbClr val="FFC0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DB80D36-E761-489E-8446-E9630CA16F69}">
      <dsp:nvSpPr>
        <dsp:cNvPr id="0" name=""/>
        <dsp:cNvSpPr/>
      </dsp:nvSpPr>
      <dsp:spPr>
        <a:xfrm>
          <a:off x="2918936" y="1025420"/>
          <a:ext cx="2189202" cy="139014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600" b="0" kern="1200"/>
            <a:t>كتب عن الإنسان والمجتمع بطريقة واقعية.</a:t>
          </a:r>
          <a:endParaRPr lang="en-US" sz="2600" kern="1200"/>
        </a:p>
      </dsp:txBody>
      <dsp:txXfrm>
        <a:off x="2959652" y="1066136"/>
        <a:ext cx="2107770" cy="1308711"/>
      </dsp:txXfrm>
    </dsp:sp>
    <dsp:sp modelId="{F8F0A3A0-5DAF-4FEE-A1E3-5A3719FF932F}">
      <dsp:nvSpPr>
        <dsp:cNvPr id="0" name=""/>
        <dsp:cNvSpPr/>
      </dsp:nvSpPr>
      <dsp:spPr>
        <a:xfrm>
          <a:off x="5351383" y="794338"/>
          <a:ext cx="2189202" cy="1390143"/>
        </a:xfrm>
        <a:prstGeom prst="roundRect">
          <a:avLst>
            <a:gd name="adj" fmla="val 10000"/>
          </a:avLst>
        </a:prstGeom>
        <a:solidFill>
          <a:srgbClr val="C000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0AB3858-02C0-4984-A36E-37CA7867E9D2}">
      <dsp:nvSpPr>
        <dsp:cNvPr id="0" name=""/>
        <dsp:cNvSpPr/>
      </dsp:nvSpPr>
      <dsp:spPr>
        <a:xfrm>
          <a:off x="5594627" y="1025420"/>
          <a:ext cx="2189202" cy="139014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600" b="0" kern="1200"/>
            <a:t>أثّر في الكثير من الأدباء العرب.</a:t>
          </a:r>
          <a:endParaRPr lang="en-US" sz="2600" kern="1200"/>
        </a:p>
      </dsp:txBody>
      <dsp:txXfrm>
        <a:off x="5635343" y="1066136"/>
        <a:ext cx="2107770" cy="130871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AD085-E8A6-8845-BD4E-CB4CCA059FC4}" type="datetimeFigureOut">
              <a:rPr lang="en-US" smtClean="0"/>
              <a:t>11/11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807558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AD085-E8A6-8845-BD4E-CB4CCA059FC4}" type="datetimeFigureOut">
              <a:rPr lang="en-US" smtClean="0"/>
              <a:t>11/11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092796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AD085-E8A6-8845-BD4E-CB4CCA059FC4}" type="datetimeFigureOut">
              <a:rPr lang="en-US" smtClean="0"/>
              <a:t>11/11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222379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AD085-E8A6-8845-BD4E-CB4CCA059FC4}" type="datetimeFigureOut">
              <a:rPr lang="en-US" smtClean="0"/>
              <a:t>11/11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43142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AD085-E8A6-8845-BD4E-CB4CCA059FC4}" type="datetimeFigureOut">
              <a:rPr lang="en-US" smtClean="0"/>
              <a:t>11/11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06483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AD085-E8A6-8845-BD4E-CB4CCA059FC4}" type="datetimeFigureOut">
              <a:rPr lang="en-US" smtClean="0"/>
              <a:t>11/11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224494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AD085-E8A6-8845-BD4E-CB4CCA059FC4}" type="datetimeFigureOut">
              <a:rPr lang="en-US" smtClean="0"/>
              <a:t>11/11/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015873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AD085-E8A6-8845-BD4E-CB4CCA059FC4}" type="datetimeFigureOut">
              <a:rPr lang="en-US" smtClean="0"/>
              <a:t>11/11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70277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AD085-E8A6-8845-BD4E-CB4CCA059FC4}" type="datetimeFigureOut">
              <a:rPr lang="en-US" smtClean="0"/>
              <a:t>11/11/20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299981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AD085-E8A6-8845-BD4E-CB4CCA059FC4}" type="datetimeFigureOut">
              <a:rPr lang="en-US" smtClean="0"/>
              <a:t>11/11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072656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AD085-E8A6-8845-BD4E-CB4CCA059FC4}" type="datetimeFigureOut">
              <a:rPr lang="en-US" smtClean="0"/>
              <a:t>11/11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92369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694F9F0-C71B-541A-E605-BD24A5C6F2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1688407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04" imgH="405" progId="TCLayout.ActiveDocument.1">
                  <p:embed/>
                </p:oleObj>
              </mc:Choice>
              <mc:Fallback>
                <p:oleObj name="think-cell Slide" r:id="rId14" imgW="404" imgH="40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BCAD085-E8A6-8845-BD4E-CB4CCA059FC4}" type="datetimeFigureOut">
              <a:rPr lang="en-US" smtClean="0"/>
              <a:t>11/11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99775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.xml"/><Relationship Id="rId3" Type="http://schemas.openxmlformats.org/officeDocument/2006/relationships/oleObject" Target="../embeddings/oleObject3.bin"/><Relationship Id="rId7" Type="http://schemas.openxmlformats.org/officeDocument/2006/relationships/diagramQuickStyle" Target="../diagrams/quickStyl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6" Type="http://schemas.openxmlformats.org/officeDocument/2006/relationships/diagramLayout" Target="../diagrams/layout1.xml"/><Relationship Id="rId5" Type="http://schemas.openxmlformats.org/officeDocument/2006/relationships/diagramData" Target="../diagrams/data1.xml"/><Relationship Id="rId4" Type="http://schemas.openxmlformats.org/officeDocument/2006/relationships/image" Target="../media/image1.emf"/><Relationship Id="rId9" Type="http://schemas.microsoft.com/office/2007/relationships/diagramDrawing" Target="../diagrams/drawing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2.xml"/><Relationship Id="rId3" Type="http://schemas.openxmlformats.org/officeDocument/2006/relationships/oleObject" Target="../embeddings/oleObject4.bin"/><Relationship Id="rId7" Type="http://schemas.openxmlformats.org/officeDocument/2006/relationships/diagramQuickStyle" Target="../diagrams/quickStyl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diagramLayout" Target="../diagrams/layout2.xml"/><Relationship Id="rId5" Type="http://schemas.openxmlformats.org/officeDocument/2006/relationships/diagramData" Target="../diagrams/data2.xml"/><Relationship Id="rId4" Type="http://schemas.openxmlformats.org/officeDocument/2006/relationships/image" Target="../media/image1.emf"/><Relationship Id="rId9" Type="http://schemas.microsoft.com/office/2007/relationships/diagramDrawing" Target="../diagrams/drawing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3.xml"/><Relationship Id="rId3" Type="http://schemas.openxmlformats.org/officeDocument/2006/relationships/oleObject" Target="../embeddings/oleObject5.bin"/><Relationship Id="rId7" Type="http://schemas.openxmlformats.org/officeDocument/2006/relationships/diagramQuickStyle" Target="../diagrams/quickStyle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diagramLayout" Target="../diagrams/layout3.xml"/><Relationship Id="rId5" Type="http://schemas.openxmlformats.org/officeDocument/2006/relationships/diagramData" Target="../diagrams/data3.xml"/><Relationship Id="rId10" Type="http://schemas.openxmlformats.org/officeDocument/2006/relationships/image" Target="../media/image3.jpg"/><Relationship Id="rId4" Type="http://schemas.openxmlformats.org/officeDocument/2006/relationships/image" Target="../media/image1.emf"/><Relationship Id="rId9" Type="http://schemas.microsoft.com/office/2007/relationships/diagramDrawing" Target="../diagrams/drawing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4.xml"/><Relationship Id="rId3" Type="http://schemas.openxmlformats.org/officeDocument/2006/relationships/oleObject" Target="../embeddings/oleObject6.bin"/><Relationship Id="rId7" Type="http://schemas.openxmlformats.org/officeDocument/2006/relationships/diagramLayout" Target="../diagrams/layout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diagramData" Target="../diagrams/data4.xml"/><Relationship Id="rId5" Type="http://schemas.openxmlformats.org/officeDocument/2006/relationships/image" Target="../media/image4.jpg"/><Relationship Id="rId10" Type="http://schemas.microsoft.com/office/2007/relationships/diagramDrawing" Target="../diagrams/drawing4.xml"/><Relationship Id="rId4" Type="http://schemas.openxmlformats.org/officeDocument/2006/relationships/image" Target="../media/image1.emf"/><Relationship Id="rId9" Type="http://schemas.openxmlformats.org/officeDocument/2006/relationships/diagramColors" Target="../diagrams/colors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5.xml"/><Relationship Id="rId3" Type="http://schemas.openxmlformats.org/officeDocument/2006/relationships/oleObject" Target="../embeddings/oleObject7.bin"/><Relationship Id="rId7" Type="http://schemas.openxmlformats.org/officeDocument/2006/relationships/diagramQuickStyle" Target="../diagrams/quickStyle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diagramLayout" Target="../diagrams/layout5.xml"/><Relationship Id="rId5" Type="http://schemas.openxmlformats.org/officeDocument/2006/relationships/diagramData" Target="../diagrams/data5.xml"/><Relationship Id="rId4" Type="http://schemas.openxmlformats.org/officeDocument/2006/relationships/image" Target="../media/image1.emf"/><Relationship Id="rId9" Type="http://schemas.microsoft.com/office/2007/relationships/diagramDrawing" Target="../diagrams/drawing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7" Type="http://schemas.openxmlformats.org/officeDocument/2006/relationships/image" Target="../media/image7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4228DFD-75FD-DA0D-7F87-DECEDA6693C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27200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943CAA20-3569-4189-9E48-239A229A86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141714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8650" y="451381"/>
            <a:ext cx="7884414" cy="4066540"/>
          </a:xfrm>
        </p:spPr>
        <p:txBody>
          <a:bodyPr vert="horz" anchor="b">
            <a:normAutofit/>
          </a:bodyPr>
          <a:lstStyle/>
          <a:p>
            <a:pPr algn="l">
              <a:defRPr sz="4400" b="1">
                <a:solidFill>
                  <a:srgbClr val="D4AF37"/>
                </a:solidFill>
              </a:defRPr>
            </a:pPr>
            <a:r>
              <a:rPr lang="ar-JO" sz="5700"/>
              <a:t>شخصيتي الأدبية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28649" y="4983276"/>
            <a:ext cx="7884414" cy="1126680"/>
          </a:xfrm>
        </p:spPr>
        <p:txBody>
          <a:bodyPr>
            <a:normAutofit/>
          </a:bodyPr>
          <a:lstStyle/>
          <a:p>
            <a:pPr algn="l">
              <a:defRPr sz="2800" b="0">
                <a:solidFill>
                  <a:srgbClr val="003366"/>
                </a:solidFill>
              </a:defRPr>
            </a:pPr>
            <a:r>
              <a:rPr lang="ar-JO" sz="2800"/>
              <a:t>نجيب محفوظ</a:t>
            </a:r>
          </a:p>
        </p:txBody>
      </p:sp>
      <p:sp>
        <p:nvSpPr>
          <p:cNvPr id="10" name="sketch line">
            <a:extLst>
              <a:ext uri="{FF2B5EF4-FFF2-40B4-BE49-F238E27FC236}">
                <a16:creationId xmlns:a16="http://schemas.microsoft.com/office/drawing/2014/main" id="{DA542B6D-E775-4832-91DC-2D20F857813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28650" y="4718595"/>
            <a:ext cx="4057650" cy="18288"/>
          </a:xfrm>
          <a:custGeom>
            <a:avLst/>
            <a:gdLst>
              <a:gd name="connsiteX0" fmla="*/ 0 w 4057650"/>
              <a:gd name="connsiteY0" fmla="*/ 0 h 18288"/>
              <a:gd name="connsiteX1" fmla="*/ 757428 w 4057650"/>
              <a:gd name="connsiteY1" fmla="*/ 0 h 18288"/>
              <a:gd name="connsiteX2" fmla="*/ 1474279 w 4057650"/>
              <a:gd name="connsiteY2" fmla="*/ 0 h 18288"/>
              <a:gd name="connsiteX3" fmla="*/ 2191131 w 4057650"/>
              <a:gd name="connsiteY3" fmla="*/ 0 h 18288"/>
              <a:gd name="connsiteX4" fmla="*/ 2745676 w 4057650"/>
              <a:gd name="connsiteY4" fmla="*/ 0 h 18288"/>
              <a:gd name="connsiteX5" fmla="*/ 3340798 w 4057650"/>
              <a:gd name="connsiteY5" fmla="*/ 0 h 18288"/>
              <a:gd name="connsiteX6" fmla="*/ 4057650 w 4057650"/>
              <a:gd name="connsiteY6" fmla="*/ 0 h 18288"/>
              <a:gd name="connsiteX7" fmla="*/ 4057650 w 4057650"/>
              <a:gd name="connsiteY7" fmla="*/ 18288 h 18288"/>
              <a:gd name="connsiteX8" fmla="*/ 3381375 w 4057650"/>
              <a:gd name="connsiteY8" fmla="*/ 18288 h 18288"/>
              <a:gd name="connsiteX9" fmla="*/ 2826830 w 4057650"/>
              <a:gd name="connsiteY9" fmla="*/ 18288 h 18288"/>
              <a:gd name="connsiteX10" fmla="*/ 2272284 w 4057650"/>
              <a:gd name="connsiteY10" fmla="*/ 18288 h 18288"/>
              <a:gd name="connsiteX11" fmla="*/ 1555432 w 4057650"/>
              <a:gd name="connsiteY11" fmla="*/ 18288 h 18288"/>
              <a:gd name="connsiteX12" fmla="*/ 960310 w 4057650"/>
              <a:gd name="connsiteY12" fmla="*/ 18288 h 18288"/>
              <a:gd name="connsiteX13" fmla="*/ 0 w 4057650"/>
              <a:gd name="connsiteY13" fmla="*/ 18288 h 18288"/>
              <a:gd name="connsiteX14" fmla="*/ 0 w 4057650"/>
              <a:gd name="connsiteY14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57650" h="18288" fill="none" extrusionOk="0">
                <a:moveTo>
                  <a:pt x="0" y="0"/>
                </a:moveTo>
                <a:cubicBezTo>
                  <a:pt x="371182" y="3227"/>
                  <a:pt x="494372" y="9222"/>
                  <a:pt x="757428" y="0"/>
                </a:cubicBezTo>
                <a:cubicBezTo>
                  <a:pt x="1020484" y="-9222"/>
                  <a:pt x="1116719" y="-4357"/>
                  <a:pt x="1474279" y="0"/>
                </a:cubicBezTo>
                <a:cubicBezTo>
                  <a:pt x="1831839" y="4357"/>
                  <a:pt x="1920973" y="-11809"/>
                  <a:pt x="2191131" y="0"/>
                </a:cubicBezTo>
                <a:cubicBezTo>
                  <a:pt x="2461289" y="11809"/>
                  <a:pt x="2589480" y="-22604"/>
                  <a:pt x="2745676" y="0"/>
                </a:cubicBezTo>
                <a:cubicBezTo>
                  <a:pt x="2901872" y="22604"/>
                  <a:pt x="3136452" y="-12306"/>
                  <a:pt x="3340798" y="0"/>
                </a:cubicBezTo>
                <a:cubicBezTo>
                  <a:pt x="3545144" y="12306"/>
                  <a:pt x="3766934" y="-21556"/>
                  <a:pt x="4057650" y="0"/>
                </a:cubicBezTo>
                <a:cubicBezTo>
                  <a:pt x="4057150" y="8855"/>
                  <a:pt x="4057759" y="14521"/>
                  <a:pt x="4057650" y="18288"/>
                </a:cubicBezTo>
                <a:cubicBezTo>
                  <a:pt x="3743404" y="40125"/>
                  <a:pt x="3625516" y="-14923"/>
                  <a:pt x="3381375" y="18288"/>
                </a:cubicBezTo>
                <a:cubicBezTo>
                  <a:pt x="3137235" y="51499"/>
                  <a:pt x="2946571" y="1"/>
                  <a:pt x="2826830" y="18288"/>
                </a:cubicBezTo>
                <a:cubicBezTo>
                  <a:pt x="2707090" y="36575"/>
                  <a:pt x="2402756" y="1432"/>
                  <a:pt x="2272284" y="18288"/>
                </a:cubicBezTo>
                <a:cubicBezTo>
                  <a:pt x="2141812" y="35144"/>
                  <a:pt x="1895935" y="18199"/>
                  <a:pt x="1555432" y="18288"/>
                </a:cubicBezTo>
                <a:cubicBezTo>
                  <a:pt x="1214929" y="18377"/>
                  <a:pt x="1103072" y="14503"/>
                  <a:pt x="960310" y="18288"/>
                </a:cubicBezTo>
                <a:cubicBezTo>
                  <a:pt x="817548" y="22073"/>
                  <a:pt x="402272" y="-29359"/>
                  <a:pt x="0" y="18288"/>
                </a:cubicBezTo>
                <a:cubicBezTo>
                  <a:pt x="683" y="12014"/>
                  <a:pt x="724" y="5908"/>
                  <a:pt x="0" y="0"/>
                </a:cubicBezTo>
                <a:close/>
              </a:path>
              <a:path w="4057650" h="18288" stroke="0" extrusionOk="0">
                <a:moveTo>
                  <a:pt x="0" y="0"/>
                </a:moveTo>
                <a:cubicBezTo>
                  <a:pt x="248348" y="13145"/>
                  <a:pt x="486117" y="25042"/>
                  <a:pt x="635698" y="0"/>
                </a:cubicBezTo>
                <a:cubicBezTo>
                  <a:pt x="785279" y="-25042"/>
                  <a:pt x="917762" y="-5537"/>
                  <a:pt x="1190244" y="0"/>
                </a:cubicBezTo>
                <a:cubicBezTo>
                  <a:pt x="1462726" y="5537"/>
                  <a:pt x="1667120" y="-21232"/>
                  <a:pt x="1947672" y="0"/>
                </a:cubicBezTo>
                <a:cubicBezTo>
                  <a:pt x="2228224" y="21232"/>
                  <a:pt x="2280631" y="-21698"/>
                  <a:pt x="2583370" y="0"/>
                </a:cubicBezTo>
                <a:cubicBezTo>
                  <a:pt x="2886109" y="21698"/>
                  <a:pt x="3022941" y="19647"/>
                  <a:pt x="3219069" y="0"/>
                </a:cubicBezTo>
                <a:cubicBezTo>
                  <a:pt x="3415197" y="-19647"/>
                  <a:pt x="3747500" y="26991"/>
                  <a:pt x="4057650" y="0"/>
                </a:cubicBezTo>
                <a:cubicBezTo>
                  <a:pt x="4056752" y="7180"/>
                  <a:pt x="4057819" y="13790"/>
                  <a:pt x="4057650" y="18288"/>
                </a:cubicBezTo>
                <a:cubicBezTo>
                  <a:pt x="3865148" y="-3313"/>
                  <a:pt x="3702543" y="49468"/>
                  <a:pt x="3381375" y="18288"/>
                </a:cubicBezTo>
                <a:cubicBezTo>
                  <a:pt x="3060208" y="-12892"/>
                  <a:pt x="2956571" y="-8678"/>
                  <a:pt x="2826830" y="18288"/>
                </a:cubicBezTo>
                <a:cubicBezTo>
                  <a:pt x="2697089" y="45254"/>
                  <a:pt x="2411031" y="43154"/>
                  <a:pt x="2150555" y="18288"/>
                </a:cubicBezTo>
                <a:cubicBezTo>
                  <a:pt x="1890080" y="-6578"/>
                  <a:pt x="1741827" y="-615"/>
                  <a:pt x="1474280" y="18288"/>
                </a:cubicBezTo>
                <a:cubicBezTo>
                  <a:pt x="1206734" y="37191"/>
                  <a:pt x="998203" y="33335"/>
                  <a:pt x="838581" y="18288"/>
                </a:cubicBezTo>
                <a:cubicBezTo>
                  <a:pt x="678959" y="3241"/>
                  <a:pt x="187101" y="-13212"/>
                  <a:pt x="0" y="18288"/>
                </a:cubicBezTo>
                <a:cubicBezTo>
                  <a:pt x="571" y="10093"/>
                  <a:pt x="-125" y="8407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1275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 descr="A person wearing sunglasses and a suit&#10;&#10;AI-generated content may be incorrect.">
            <a:extLst>
              <a:ext uri="{FF2B5EF4-FFF2-40B4-BE49-F238E27FC236}">
                <a16:creationId xmlns:a16="http://schemas.microsoft.com/office/drawing/2014/main" id="{5A7F89FA-CE47-B6B0-3EB7-2422300D661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43727" y="1183960"/>
            <a:ext cx="4070279" cy="228953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</p:cSld>
  <p:clrMapOvr>
    <a:masterClrMapping/>
  </p:clrMapOvr>
  <mc:AlternateContent xmlns:mc="http://schemas.openxmlformats.org/markup-compatibility/2006">
    <mc:Choice xmlns:p15="http://schemas.microsoft.com/office/powerpoint/2012/main" Requires="p15">
      <p:transition xmlns:p14="http://schemas.microsoft.com/office/powerpoint/2010/main" spd="slow" p14:dur="6000">
        <p15:prstTrans prst="curtains"/>
      </p:transition>
    </mc:Choice>
    <mc:Fallback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E4932AA2-4860-F723-F276-8F73439DFD0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90804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2E442304-DDBD-4F7B-8017-36BCC863FB4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141714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250" y="640823"/>
            <a:ext cx="2563994" cy="5583148"/>
          </a:xfrm>
        </p:spPr>
        <p:txBody>
          <a:bodyPr vert="horz" anchor="ctr">
            <a:normAutofit/>
          </a:bodyPr>
          <a:lstStyle/>
          <a:p>
            <a:pPr>
              <a:defRPr sz="4400" b="1">
                <a:solidFill>
                  <a:srgbClr val="D4AF37"/>
                </a:solidFill>
              </a:defRPr>
            </a:pPr>
            <a:r>
              <a:rPr lang="ar-JO" sz="4700"/>
              <a:t>من هو نجيب محفوظ؟</a:t>
            </a:r>
          </a:p>
        </p:txBody>
      </p:sp>
      <p:sp>
        <p:nvSpPr>
          <p:cNvPr id="11" name="sketch line">
            <a:extLst>
              <a:ext uri="{FF2B5EF4-FFF2-40B4-BE49-F238E27FC236}">
                <a16:creationId xmlns:a16="http://schemas.microsoft.com/office/drawing/2014/main" id="{5E107275-3853-46FD-A241-DE4355A426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544313" y="3465005"/>
            <a:ext cx="5410200" cy="13716"/>
          </a:xfrm>
          <a:custGeom>
            <a:avLst/>
            <a:gdLst>
              <a:gd name="connsiteX0" fmla="*/ 0 w 5410200"/>
              <a:gd name="connsiteY0" fmla="*/ 0 h 13716"/>
              <a:gd name="connsiteX1" fmla="*/ 568071 w 5410200"/>
              <a:gd name="connsiteY1" fmla="*/ 0 h 13716"/>
              <a:gd name="connsiteX2" fmla="*/ 1298448 w 5410200"/>
              <a:gd name="connsiteY2" fmla="*/ 0 h 13716"/>
              <a:gd name="connsiteX3" fmla="*/ 1920621 w 5410200"/>
              <a:gd name="connsiteY3" fmla="*/ 0 h 13716"/>
              <a:gd name="connsiteX4" fmla="*/ 2488692 w 5410200"/>
              <a:gd name="connsiteY4" fmla="*/ 0 h 13716"/>
              <a:gd name="connsiteX5" fmla="*/ 3219069 w 5410200"/>
              <a:gd name="connsiteY5" fmla="*/ 0 h 13716"/>
              <a:gd name="connsiteX6" fmla="*/ 3895344 w 5410200"/>
              <a:gd name="connsiteY6" fmla="*/ 0 h 13716"/>
              <a:gd name="connsiteX7" fmla="*/ 4571619 w 5410200"/>
              <a:gd name="connsiteY7" fmla="*/ 0 h 13716"/>
              <a:gd name="connsiteX8" fmla="*/ 5410200 w 5410200"/>
              <a:gd name="connsiteY8" fmla="*/ 0 h 13716"/>
              <a:gd name="connsiteX9" fmla="*/ 5410200 w 5410200"/>
              <a:gd name="connsiteY9" fmla="*/ 13716 h 13716"/>
              <a:gd name="connsiteX10" fmla="*/ 4842129 w 5410200"/>
              <a:gd name="connsiteY10" fmla="*/ 13716 h 13716"/>
              <a:gd name="connsiteX11" fmla="*/ 4328160 w 5410200"/>
              <a:gd name="connsiteY11" fmla="*/ 13716 h 13716"/>
              <a:gd name="connsiteX12" fmla="*/ 3597783 w 5410200"/>
              <a:gd name="connsiteY12" fmla="*/ 13716 h 13716"/>
              <a:gd name="connsiteX13" fmla="*/ 3029712 w 5410200"/>
              <a:gd name="connsiteY13" fmla="*/ 13716 h 13716"/>
              <a:gd name="connsiteX14" fmla="*/ 2299335 w 5410200"/>
              <a:gd name="connsiteY14" fmla="*/ 13716 h 13716"/>
              <a:gd name="connsiteX15" fmla="*/ 1514856 w 5410200"/>
              <a:gd name="connsiteY15" fmla="*/ 13716 h 13716"/>
              <a:gd name="connsiteX16" fmla="*/ 892683 w 5410200"/>
              <a:gd name="connsiteY16" fmla="*/ 13716 h 13716"/>
              <a:gd name="connsiteX17" fmla="*/ 0 w 5410200"/>
              <a:gd name="connsiteY17" fmla="*/ 13716 h 13716"/>
              <a:gd name="connsiteX18" fmla="*/ 0 w 5410200"/>
              <a:gd name="connsiteY18" fmla="*/ 0 h 137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5410200" h="13716" fill="none" extrusionOk="0">
                <a:moveTo>
                  <a:pt x="0" y="0"/>
                </a:moveTo>
                <a:cubicBezTo>
                  <a:pt x="163050" y="-18707"/>
                  <a:pt x="319321" y="-16364"/>
                  <a:pt x="568071" y="0"/>
                </a:cubicBezTo>
                <a:cubicBezTo>
                  <a:pt x="816821" y="16364"/>
                  <a:pt x="1013224" y="-7268"/>
                  <a:pt x="1298448" y="0"/>
                </a:cubicBezTo>
                <a:cubicBezTo>
                  <a:pt x="1583672" y="7268"/>
                  <a:pt x="1631711" y="-3367"/>
                  <a:pt x="1920621" y="0"/>
                </a:cubicBezTo>
                <a:cubicBezTo>
                  <a:pt x="2209531" y="3367"/>
                  <a:pt x="2364420" y="-19184"/>
                  <a:pt x="2488692" y="0"/>
                </a:cubicBezTo>
                <a:cubicBezTo>
                  <a:pt x="2612964" y="19184"/>
                  <a:pt x="3023298" y="-34627"/>
                  <a:pt x="3219069" y="0"/>
                </a:cubicBezTo>
                <a:cubicBezTo>
                  <a:pt x="3414840" y="34627"/>
                  <a:pt x="3656810" y="24043"/>
                  <a:pt x="3895344" y="0"/>
                </a:cubicBezTo>
                <a:cubicBezTo>
                  <a:pt x="4133879" y="-24043"/>
                  <a:pt x="4393984" y="-19577"/>
                  <a:pt x="4571619" y="0"/>
                </a:cubicBezTo>
                <a:cubicBezTo>
                  <a:pt x="4749255" y="19577"/>
                  <a:pt x="5179928" y="-6281"/>
                  <a:pt x="5410200" y="0"/>
                </a:cubicBezTo>
                <a:cubicBezTo>
                  <a:pt x="5409587" y="2854"/>
                  <a:pt x="5409791" y="9451"/>
                  <a:pt x="5410200" y="13716"/>
                </a:cubicBezTo>
                <a:cubicBezTo>
                  <a:pt x="5139060" y="2179"/>
                  <a:pt x="5121593" y="26463"/>
                  <a:pt x="4842129" y="13716"/>
                </a:cubicBezTo>
                <a:cubicBezTo>
                  <a:pt x="4562665" y="969"/>
                  <a:pt x="4448273" y="4915"/>
                  <a:pt x="4328160" y="13716"/>
                </a:cubicBezTo>
                <a:cubicBezTo>
                  <a:pt x="4208047" y="22517"/>
                  <a:pt x="3760936" y="17995"/>
                  <a:pt x="3597783" y="13716"/>
                </a:cubicBezTo>
                <a:cubicBezTo>
                  <a:pt x="3434630" y="9437"/>
                  <a:pt x="3299718" y="28641"/>
                  <a:pt x="3029712" y="13716"/>
                </a:cubicBezTo>
                <a:cubicBezTo>
                  <a:pt x="2759706" y="-1209"/>
                  <a:pt x="2640159" y="22822"/>
                  <a:pt x="2299335" y="13716"/>
                </a:cubicBezTo>
                <a:cubicBezTo>
                  <a:pt x="1958511" y="4610"/>
                  <a:pt x="1801186" y="24413"/>
                  <a:pt x="1514856" y="13716"/>
                </a:cubicBezTo>
                <a:cubicBezTo>
                  <a:pt x="1228526" y="3019"/>
                  <a:pt x="1063509" y="-9877"/>
                  <a:pt x="892683" y="13716"/>
                </a:cubicBezTo>
                <a:cubicBezTo>
                  <a:pt x="721857" y="37309"/>
                  <a:pt x="186945" y="-25469"/>
                  <a:pt x="0" y="13716"/>
                </a:cubicBezTo>
                <a:cubicBezTo>
                  <a:pt x="-342" y="9537"/>
                  <a:pt x="-97" y="6817"/>
                  <a:pt x="0" y="0"/>
                </a:cubicBezTo>
                <a:close/>
              </a:path>
              <a:path w="5410200" h="13716" stroke="0" extrusionOk="0">
                <a:moveTo>
                  <a:pt x="0" y="0"/>
                </a:moveTo>
                <a:cubicBezTo>
                  <a:pt x="285096" y="-4925"/>
                  <a:pt x="376456" y="22268"/>
                  <a:pt x="622173" y="0"/>
                </a:cubicBezTo>
                <a:cubicBezTo>
                  <a:pt x="867890" y="-22268"/>
                  <a:pt x="1031392" y="7228"/>
                  <a:pt x="1136142" y="0"/>
                </a:cubicBezTo>
                <a:cubicBezTo>
                  <a:pt x="1240892" y="-7228"/>
                  <a:pt x="1561853" y="9877"/>
                  <a:pt x="1920621" y="0"/>
                </a:cubicBezTo>
                <a:cubicBezTo>
                  <a:pt x="2279389" y="-9877"/>
                  <a:pt x="2367255" y="19546"/>
                  <a:pt x="2542794" y="0"/>
                </a:cubicBezTo>
                <a:cubicBezTo>
                  <a:pt x="2718333" y="-19546"/>
                  <a:pt x="2866732" y="-22226"/>
                  <a:pt x="3164967" y="0"/>
                </a:cubicBezTo>
                <a:cubicBezTo>
                  <a:pt x="3463202" y="22226"/>
                  <a:pt x="3568055" y="-2765"/>
                  <a:pt x="3949446" y="0"/>
                </a:cubicBezTo>
                <a:cubicBezTo>
                  <a:pt x="4330837" y="2765"/>
                  <a:pt x="4287895" y="10557"/>
                  <a:pt x="4517517" y="0"/>
                </a:cubicBezTo>
                <a:cubicBezTo>
                  <a:pt x="4747139" y="-10557"/>
                  <a:pt x="5149588" y="8716"/>
                  <a:pt x="5410200" y="0"/>
                </a:cubicBezTo>
                <a:cubicBezTo>
                  <a:pt x="5410660" y="2787"/>
                  <a:pt x="5410166" y="9748"/>
                  <a:pt x="5410200" y="13716"/>
                </a:cubicBezTo>
                <a:cubicBezTo>
                  <a:pt x="5163327" y="36922"/>
                  <a:pt x="5008749" y="6121"/>
                  <a:pt x="4842129" y="13716"/>
                </a:cubicBezTo>
                <a:cubicBezTo>
                  <a:pt x="4675509" y="21311"/>
                  <a:pt x="4433401" y="-5187"/>
                  <a:pt x="4165854" y="13716"/>
                </a:cubicBezTo>
                <a:cubicBezTo>
                  <a:pt x="3898308" y="32619"/>
                  <a:pt x="3809032" y="-13282"/>
                  <a:pt x="3543681" y="13716"/>
                </a:cubicBezTo>
                <a:cubicBezTo>
                  <a:pt x="3278330" y="40714"/>
                  <a:pt x="3073876" y="-20489"/>
                  <a:pt x="2759202" y="13716"/>
                </a:cubicBezTo>
                <a:cubicBezTo>
                  <a:pt x="2444528" y="47921"/>
                  <a:pt x="2204144" y="-1200"/>
                  <a:pt x="1974723" y="13716"/>
                </a:cubicBezTo>
                <a:cubicBezTo>
                  <a:pt x="1745302" y="28632"/>
                  <a:pt x="1602335" y="26918"/>
                  <a:pt x="1406652" y="13716"/>
                </a:cubicBezTo>
                <a:cubicBezTo>
                  <a:pt x="1210969" y="514"/>
                  <a:pt x="923948" y="-1411"/>
                  <a:pt x="730377" y="13716"/>
                </a:cubicBezTo>
                <a:cubicBezTo>
                  <a:pt x="536806" y="28843"/>
                  <a:pt x="336496" y="-4713"/>
                  <a:pt x="0" y="13716"/>
                </a:cubicBezTo>
                <a:cubicBezTo>
                  <a:pt x="-535" y="9547"/>
                  <a:pt x="488" y="4515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1275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5" name="Content Placeholder 2">
            <a:extLst>
              <a:ext uri="{FF2B5EF4-FFF2-40B4-BE49-F238E27FC236}">
                <a16:creationId xmlns:a16="http://schemas.microsoft.com/office/drawing/2014/main" id="{F9014A99-9B33-0637-57FF-999B8CB5DCB6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942011608"/>
              </p:ext>
            </p:extLst>
          </p:nvPr>
        </p:nvGraphicFramePr>
        <p:xfrm>
          <a:off x="3486013" y="640822"/>
          <a:ext cx="5175384" cy="553614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</p:spTree>
  </p:cSld>
  <p:clrMapOvr>
    <a:masterClrMapping/>
  </p:clrMapOvr>
  <mc:AlternateContent xmlns:mc="http://schemas.openxmlformats.org/markup-compatibility/2006">
    <mc:Choice xmlns:p15="http://schemas.microsoft.com/office/powerpoint/2012/main" Requires="p15">
      <p:transition xmlns:p14="http://schemas.microsoft.com/office/powerpoint/2010/main" spd="slow" p14:dur="3250">
        <p15:prstTrans prst="origami"/>
      </p:transition>
    </mc:Choice>
    <mc:Fallback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5BB0DB0F-FC48-C3A6-B1A4-409C4551F00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66487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2E442304-DDBD-4F7B-8017-36BCC863FB4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141714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250" y="640823"/>
            <a:ext cx="2563994" cy="5583148"/>
          </a:xfrm>
        </p:spPr>
        <p:txBody>
          <a:bodyPr vert="horz" anchor="ctr">
            <a:normAutofit/>
          </a:bodyPr>
          <a:lstStyle/>
          <a:p>
            <a:pPr>
              <a:defRPr sz="4400" b="1">
                <a:solidFill>
                  <a:srgbClr val="D4AF37"/>
                </a:solidFill>
              </a:defRPr>
            </a:pPr>
            <a:r>
              <a:rPr lang="ar-JO" sz="4700"/>
              <a:t>حياة نجيب محفوظ</a:t>
            </a:r>
          </a:p>
        </p:txBody>
      </p:sp>
      <p:sp>
        <p:nvSpPr>
          <p:cNvPr id="11" name="sketch line">
            <a:extLst>
              <a:ext uri="{FF2B5EF4-FFF2-40B4-BE49-F238E27FC236}">
                <a16:creationId xmlns:a16="http://schemas.microsoft.com/office/drawing/2014/main" id="{5E107275-3853-46FD-A241-DE4355A426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544313" y="3465005"/>
            <a:ext cx="5410200" cy="13716"/>
          </a:xfrm>
          <a:custGeom>
            <a:avLst/>
            <a:gdLst>
              <a:gd name="connsiteX0" fmla="*/ 0 w 5410200"/>
              <a:gd name="connsiteY0" fmla="*/ 0 h 13716"/>
              <a:gd name="connsiteX1" fmla="*/ 568071 w 5410200"/>
              <a:gd name="connsiteY1" fmla="*/ 0 h 13716"/>
              <a:gd name="connsiteX2" fmla="*/ 1298448 w 5410200"/>
              <a:gd name="connsiteY2" fmla="*/ 0 h 13716"/>
              <a:gd name="connsiteX3" fmla="*/ 1920621 w 5410200"/>
              <a:gd name="connsiteY3" fmla="*/ 0 h 13716"/>
              <a:gd name="connsiteX4" fmla="*/ 2488692 w 5410200"/>
              <a:gd name="connsiteY4" fmla="*/ 0 h 13716"/>
              <a:gd name="connsiteX5" fmla="*/ 3219069 w 5410200"/>
              <a:gd name="connsiteY5" fmla="*/ 0 h 13716"/>
              <a:gd name="connsiteX6" fmla="*/ 3895344 w 5410200"/>
              <a:gd name="connsiteY6" fmla="*/ 0 h 13716"/>
              <a:gd name="connsiteX7" fmla="*/ 4571619 w 5410200"/>
              <a:gd name="connsiteY7" fmla="*/ 0 h 13716"/>
              <a:gd name="connsiteX8" fmla="*/ 5410200 w 5410200"/>
              <a:gd name="connsiteY8" fmla="*/ 0 h 13716"/>
              <a:gd name="connsiteX9" fmla="*/ 5410200 w 5410200"/>
              <a:gd name="connsiteY9" fmla="*/ 13716 h 13716"/>
              <a:gd name="connsiteX10" fmla="*/ 4842129 w 5410200"/>
              <a:gd name="connsiteY10" fmla="*/ 13716 h 13716"/>
              <a:gd name="connsiteX11" fmla="*/ 4328160 w 5410200"/>
              <a:gd name="connsiteY11" fmla="*/ 13716 h 13716"/>
              <a:gd name="connsiteX12" fmla="*/ 3597783 w 5410200"/>
              <a:gd name="connsiteY12" fmla="*/ 13716 h 13716"/>
              <a:gd name="connsiteX13" fmla="*/ 3029712 w 5410200"/>
              <a:gd name="connsiteY13" fmla="*/ 13716 h 13716"/>
              <a:gd name="connsiteX14" fmla="*/ 2299335 w 5410200"/>
              <a:gd name="connsiteY14" fmla="*/ 13716 h 13716"/>
              <a:gd name="connsiteX15" fmla="*/ 1514856 w 5410200"/>
              <a:gd name="connsiteY15" fmla="*/ 13716 h 13716"/>
              <a:gd name="connsiteX16" fmla="*/ 892683 w 5410200"/>
              <a:gd name="connsiteY16" fmla="*/ 13716 h 13716"/>
              <a:gd name="connsiteX17" fmla="*/ 0 w 5410200"/>
              <a:gd name="connsiteY17" fmla="*/ 13716 h 13716"/>
              <a:gd name="connsiteX18" fmla="*/ 0 w 5410200"/>
              <a:gd name="connsiteY18" fmla="*/ 0 h 137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5410200" h="13716" fill="none" extrusionOk="0">
                <a:moveTo>
                  <a:pt x="0" y="0"/>
                </a:moveTo>
                <a:cubicBezTo>
                  <a:pt x="163050" y="-18707"/>
                  <a:pt x="319321" y="-16364"/>
                  <a:pt x="568071" y="0"/>
                </a:cubicBezTo>
                <a:cubicBezTo>
                  <a:pt x="816821" y="16364"/>
                  <a:pt x="1013224" y="-7268"/>
                  <a:pt x="1298448" y="0"/>
                </a:cubicBezTo>
                <a:cubicBezTo>
                  <a:pt x="1583672" y="7268"/>
                  <a:pt x="1631711" y="-3367"/>
                  <a:pt x="1920621" y="0"/>
                </a:cubicBezTo>
                <a:cubicBezTo>
                  <a:pt x="2209531" y="3367"/>
                  <a:pt x="2364420" y="-19184"/>
                  <a:pt x="2488692" y="0"/>
                </a:cubicBezTo>
                <a:cubicBezTo>
                  <a:pt x="2612964" y="19184"/>
                  <a:pt x="3023298" y="-34627"/>
                  <a:pt x="3219069" y="0"/>
                </a:cubicBezTo>
                <a:cubicBezTo>
                  <a:pt x="3414840" y="34627"/>
                  <a:pt x="3656810" y="24043"/>
                  <a:pt x="3895344" y="0"/>
                </a:cubicBezTo>
                <a:cubicBezTo>
                  <a:pt x="4133879" y="-24043"/>
                  <a:pt x="4393984" y="-19577"/>
                  <a:pt x="4571619" y="0"/>
                </a:cubicBezTo>
                <a:cubicBezTo>
                  <a:pt x="4749255" y="19577"/>
                  <a:pt x="5179928" y="-6281"/>
                  <a:pt x="5410200" y="0"/>
                </a:cubicBezTo>
                <a:cubicBezTo>
                  <a:pt x="5409587" y="2854"/>
                  <a:pt x="5409791" y="9451"/>
                  <a:pt x="5410200" y="13716"/>
                </a:cubicBezTo>
                <a:cubicBezTo>
                  <a:pt x="5139060" y="2179"/>
                  <a:pt x="5121593" y="26463"/>
                  <a:pt x="4842129" y="13716"/>
                </a:cubicBezTo>
                <a:cubicBezTo>
                  <a:pt x="4562665" y="969"/>
                  <a:pt x="4448273" y="4915"/>
                  <a:pt x="4328160" y="13716"/>
                </a:cubicBezTo>
                <a:cubicBezTo>
                  <a:pt x="4208047" y="22517"/>
                  <a:pt x="3760936" y="17995"/>
                  <a:pt x="3597783" y="13716"/>
                </a:cubicBezTo>
                <a:cubicBezTo>
                  <a:pt x="3434630" y="9437"/>
                  <a:pt x="3299718" y="28641"/>
                  <a:pt x="3029712" y="13716"/>
                </a:cubicBezTo>
                <a:cubicBezTo>
                  <a:pt x="2759706" y="-1209"/>
                  <a:pt x="2640159" y="22822"/>
                  <a:pt x="2299335" y="13716"/>
                </a:cubicBezTo>
                <a:cubicBezTo>
                  <a:pt x="1958511" y="4610"/>
                  <a:pt x="1801186" y="24413"/>
                  <a:pt x="1514856" y="13716"/>
                </a:cubicBezTo>
                <a:cubicBezTo>
                  <a:pt x="1228526" y="3019"/>
                  <a:pt x="1063509" y="-9877"/>
                  <a:pt x="892683" y="13716"/>
                </a:cubicBezTo>
                <a:cubicBezTo>
                  <a:pt x="721857" y="37309"/>
                  <a:pt x="186945" y="-25469"/>
                  <a:pt x="0" y="13716"/>
                </a:cubicBezTo>
                <a:cubicBezTo>
                  <a:pt x="-342" y="9537"/>
                  <a:pt x="-97" y="6817"/>
                  <a:pt x="0" y="0"/>
                </a:cubicBezTo>
                <a:close/>
              </a:path>
              <a:path w="5410200" h="13716" stroke="0" extrusionOk="0">
                <a:moveTo>
                  <a:pt x="0" y="0"/>
                </a:moveTo>
                <a:cubicBezTo>
                  <a:pt x="285096" y="-4925"/>
                  <a:pt x="376456" y="22268"/>
                  <a:pt x="622173" y="0"/>
                </a:cubicBezTo>
                <a:cubicBezTo>
                  <a:pt x="867890" y="-22268"/>
                  <a:pt x="1031392" y="7228"/>
                  <a:pt x="1136142" y="0"/>
                </a:cubicBezTo>
                <a:cubicBezTo>
                  <a:pt x="1240892" y="-7228"/>
                  <a:pt x="1561853" y="9877"/>
                  <a:pt x="1920621" y="0"/>
                </a:cubicBezTo>
                <a:cubicBezTo>
                  <a:pt x="2279389" y="-9877"/>
                  <a:pt x="2367255" y="19546"/>
                  <a:pt x="2542794" y="0"/>
                </a:cubicBezTo>
                <a:cubicBezTo>
                  <a:pt x="2718333" y="-19546"/>
                  <a:pt x="2866732" y="-22226"/>
                  <a:pt x="3164967" y="0"/>
                </a:cubicBezTo>
                <a:cubicBezTo>
                  <a:pt x="3463202" y="22226"/>
                  <a:pt x="3568055" y="-2765"/>
                  <a:pt x="3949446" y="0"/>
                </a:cubicBezTo>
                <a:cubicBezTo>
                  <a:pt x="4330837" y="2765"/>
                  <a:pt x="4287895" y="10557"/>
                  <a:pt x="4517517" y="0"/>
                </a:cubicBezTo>
                <a:cubicBezTo>
                  <a:pt x="4747139" y="-10557"/>
                  <a:pt x="5149588" y="8716"/>
                  <a:pt x="5410200" y="0"/>
                </a:cubicBezTo>
                <a:cubicBezTo>
                  <a:pt x="5410660" y="2787"/>
                  <a:pt x="5410166" y="9748"/>
                  <a:pt x="5410200" y="13716"/>
                </a:cubicBezTo>
                <a:cubicBezTo>
                  <a:pt x="5163327" y="36922"/>
                  <a:pt x="5008749" y="6121"/>
                  <a:pt x="4842129" y="13716"/>
                </a:cubicBezTo>
                <a:cubicBezTo>
                  <a:pt x="4675509" y="21311"/>
                  <a:pt x="4433401" y="-5187"/>
                  <a:pt x="4165854" y="13716"/>
                </a:cubicBezTo>
                <a:cubicBezTo>
                  <a:pt x="3898308" y="32619"/>
                  <a:pt x="3809032" y="-13282"/>
                  <a:pt x="3543681" y="13716"/>
                </a:cubicBezTo>
                <a:cubicBezTo>
                  <a:pt x="3278330" y="40714"/>
                  <a:pt x="3073876" y="-20489"/>
                  <a:pt x="2759202" y="13716"/>
                </a:cubicBezTo>
                <a:cubicBezTo>
                  <a:pt x="2444528" y="47921"/>
                  <a:pt x="2204144" y="-1200"/>
                  <a:pt x="1974723" y="13716"/>
                </a:cubicBezTo>
                <a:cubicBezTo>
                  <a:pt x="1745302" y="28632"/>
                  <a:pt x="1602335" y="26918"/>
                  <a:pt x="1406652" y="13716"/>
                </a:cubicBezTo>
                <a:cubicBezTo>
                  <a:pt x="1210969" y="514"/>
                  <a:pt x="923948" y="-1411"/>
                  <a:pt x="730377" y="13716"/>
                </a:cubicBezTo>
                <a:cubicBezTo>
                  <a:pt x="536806" y="28843"/>
                  <a:pt x="336496" y="-4713"/>
                  <a:pt x="0" y="13716"/>
                </a:cubicBezTo>
                <a:cubicBezTo>
                  <a:pt x="-535" y="9547"/>
                  <a:pt x="488" y="4515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1275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5" name="Content Placeholder 2">
            <a:extLst>
              <a:ext uri="{FF2B5EF4-FFF2-40B4-BE49-F238E27FC236}">
                <a16:creationId xmlns:a16="http://schemas.microsoft.com/office/drawing/2014/main" id="{0A9FAF5B-B8AC-1F07-B626-2966FDAD340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634923393"/>
              </p:ext>
            </p:extLst>
          </p:nvPr>
        </p:nvGraphicFramePr>
        <p:xfrm>
          <a:off x="3486013" y="640822"/>
          <a:ext cx="5175384" cy="553614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</p:spTree>
  </p:cSld>
  <p:clrMapOvr>
    <a:masterClrMapping/>
  </p:clrMapOvr>
  <mc:AlternateContent xmlns:mc="http://schemas.openxmlformats.org/markup-compatibility/2006">
    <mc:Choice xmlns:p15="http://schemas.microsoft.com/office/powerpoint/2012/main" Requires="p15">
      <p:transition xmlns:p14="http://schemas.microsoft.com/office/powerpoint/2010/main" spd="slow" p14:dur="1250">
        <p15:prstTrans prst="airplane"/>
      </p:transition>
    </mc:Choice>
    <mc:Fallback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02B504E6-228D-9A3A-D2F2-34F58409C2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48476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2E442304-DDBD-4F7B-8017-36BCC863FB4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141714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250" y="640823"/>
            <a:ext cx="2563994" cy="5583148"/>
          </a:xfrm>
        </p:spPr>
        <p:txBody>
          <a:bodyPr vert="horz" anchor="ctr">
            <a:normAutofit/>
          </a:bodyPr>
          <a:lstStyle/>
          <a:p>
            <a:pPr>
              <a:defRPr sz="4400" b="1">
                <a:solidFill>
                  <a:srgbClr val="D4AF37"/>
                </a:solidFill>
              </a:defRPr>
            </a:pPr>
            <a:r>
              <a:rPr lang="ar-JO" sz="4700" dirty="0"/>
              <a:t>أهم أعماله</a:t>
            </a:r>
          </a:p>
        </p:txBody>
      </p:sp>
      <p:sp>
        <p:nvSpPr>
          <p:cNvPr id="11" name="sketch line">
            <a:extLst>
              <a:ext uri="{FF2B5EF4-FFF2-40B4-BE49-F238E27FC236}">
                <a16:creationId xmlns:a16="http://schemas.microsoft.com/office/drawing/2014/main" id="{5E107275-3853-46FD-A241-DE4355A426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544313" y="3465005"/>
            <a:ext cx="5410200" cy="13716"/>
          </a:xfrm>
          <a:custGeom>
            <a:avLst/>
            <a:gdLst>
              <a:gd name="connsiteX0" fmla="*/ 0 w 5410200"/>
              <a:gd name="connsiteY0" fmla="*/ 0 h 13716"/>
              <a:gd name="connsiteX1" fmla="*/ 568071 w 5410200"/>
              <a:gd name="connsiteY1" fmla="*/ 0 h 13716"/>
              <a:gd name="connsiteX2" fmla="*/ 1298448 w 5410200"/>
              <a:gd name="connsiteY2" fmla="*/ 0 h 13716"/>
              <a:gd name="connsiteX3" fmla="*/ 1920621 w 5410200"/>
              <a:gd name="connsiteY3" fmla="*/ 0 h 13716"/>
              <a:gd name="connsiteX4" fmla="*/ 2488692 w 5410200"/>
              <a:gd name="connsiteY4" fmla="*/ 0 h 13716"/>
              <a:gd name="connsiteX5" fmla="*/ 3219069 w 5410200"/>
              <a:gd name="connsiteY5" fmla="*/ 0 h 13716"/>
              <a:gd name="connsiteX6" fmla="*/ 3895344 w 5410200"/>
              <a:gd name="connsiteY6" fmla="*/ 0 h 13716"/>
              <a:gd name="connsiteX7" fmla="*/ 4571619 w 5410200"/>
              <a:gd name="connsiteY7" fmla="*/ 0 h 13716"/>
              <a:gd name="connsiteX8" fmla="*/ 5410200 w 5410200"/>
              <a:gd name="connsiteY8" fmla="*/ 0 h 13716"/>
              <a:gd name="connsiteX9" fmla="*/ 5410200 w 5410200"/>
              <a:gd name="connsiteY9" fmla="*/ 13716 h 13716"/>
              <a:gd name="connsiteX10" fmla="*/ 4842129 w 5410200"/>
              <a:gd name="connsiteY10" fmla="*/ 13716 h 13716"/>
              <a:gd name="connsiteX11" fmla="*/ 4328160 w 5410200"/>
              <a:gd name="connsiteY11" fmla="*/ 13716 h 13716"/>
              <a:gd name="connsiteX12" fmla="*/ 3597783 w 5410200"/>
              <a:gd name="connsiteY12" fmla="*/ 13716 h 13716"/>
              <a:gd name="connsiteX13" fmla="*/ 3029712 w 5410200"/>
              <a:gd name="connsiteY13" fmla="*/ 13716 h 13716"/>
              <a:gd name="connsiteX14" fmla="*/ 2299335 w 5410200"/>
              <a:gd name="connsiteY14" fmla="*/ 13716 h 13716"/>
              <a:gd name="connsiteX15" fmla="*/ 1514856 w 5410200"/>
              <a:gd name="connsiteY15" fmla="*/ 13716 h 13716"/>
              <a:gd name="connsiteX16" fmla="*/ 892683 w 5410200"/>
              <a:gd name="connsiteY16" fmla="*/ 13716 h 13716"/>
              <a:gd name="connsiteX17" fmla="*/ 0 w 5410200"/>
              <a:gd name="connsiteY17" fmla="*/ 13716 h 13716"/>
              <a:gd name="connsiteX18" fmla="*/ 0 w 5410200"/>
              <a:gd name="connsiteY18" fmla="*/ 0 h 137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5410200" h="13716" fill="none" extrusionOk="0">
                <a:moveTo>
                  <a:pt x="0" y="0"/>
                </a:moveTo>
                <a:cubicBezTo>
                  <a:pt x="163050" y="-18707"/>
                  <a:pt x="319321" y="-16364"/>
                  <a:pt x="568071" y="0"/>
                </a:cubicBezTo>
                <a:cubicBezTo>
                  <a:pt x="816821" y="16364"/>
                  <a:pt x="1013224" y="-7268"/>
                  <a:pt x="1298448" y="0"/>
                </a:cubicBezTo>
                <a:cubicBezTo>
                  <a:pt x="1583672" y="7268"/>
                  <a:pt x="1631711" y="-3367"/>
                  <a:pt x="1920621" y="0"/>
                </a:cubicBezTo>
                <a:cubicBezTo>
                  <a:pt x="2209531" y="3367"/>
                  <a:pt x="2364420" y="-19184"/>
                  <a:pt x="2488692" y="0"/>
                </a:cubicBezTo>
                <a:cubicBezTo>
                  <a:pt x="2612964" y="19184"/>
                  <a:pt x="3023298" y="-34627"/>
                  <a:pt x="3219069" y="0"/>
                </a:cubicBezTo>
                <a:cubicBezTo>
                  <a:pt x="3414840" y="34627"/>
                  <a:pt x="3656810" y="24043"/>
                  <a:pt x="3895344" y="0"/>
                </a:cubicBezTo>
                <a:cubicBezTo>
                  <a:pt x="4133879" y="-24043"/>
                  <a:pt x="4393984" y="-19577"/>
                  <a:pt x="4571619" y="0"/>
                </a:cubicBezTo>
                <a:cubicBezTo>
                  <a:pt x="4749255" y="19577"/>
                  <a:pt x="5179928" y="-6281"/>
                  <a:pt x="5410200" y="0"/>
                </a:cubicBezTo>
                <a:cubicBezTo>
                  <a:pt x="5409587" y="2854"/>
                  <a:pt x="5409791" y="9451"/>
                  <a:pt x="5410200" y="13716"/>
                </a:cubicBezTo>
                <a:cubicBezTo>
                  <a:pt x="5139060" y="2179"/>
                  <a:pt x="5121593" y="26463"/>
                  <a:pt x="4842129" y="13716"/>
                </a:cubicBezTo>
                <a:cubicBezTo>
                  <a:pt x="4562665" y="969"/>
                  <a:pt x="4448273" y="4915"/>
                  <a:pt x="4328160" y="13716"/>
                </a:cubicBezTo>
                <a:cubicBezTo>
                  <a:pt x="4208047" y="22517"/>
                  <a:pt x="3760936" y="17995"/>
                  <a:pt x="3597783" y="13716"/>
                </a:cubicBezTo>
                <a:cubicBezTo>
                  <a:pt x="3434630" y="9437"/>
                  <a:pt x="3299718" y="28641"/>
                  <a:pt x="3029712" y="13716"/>
                </a:cubicBezTo>
                <a:cubicBezTo>
                  <a:pt x="2759706" y="-1209"/>
                  <a:pt x="2640159" y="22822"/>
                  <a:pt x="2299335" y="13716"/>
                </a:cubicBezTo>
                <a:cubicBezTo>
                  <a:pt x="1958511" y="4610"/>
                  <a:pt x="1801186" y="24413"/>
                  <a:pt x="1514856" y="13716"/>
                </a:cubicBezTo>
                <a:cubicBezTo>
                  <a:pt x="1228526" y="3019"/>
                  <a:pt x="1063509" y="-9877"/>
                  <a:pt x="892683" y="13716"/>
                </a:cubicBezTo>
                <a:cubicBezTo>
                  <a:pt x="721857" y="37309"/>
                  <a:pt x="186945" y="-25469"/>
                  <a:pt x="0" y="13716"/>
                </a:cubicBezTo>
                <a:cubicBezTo>
                  <a:pt x="-342" y="9537"/>
                  <a:pt x="-97" y="6817"/>
                  <a:pt x="0" y="0"/>
                </a:cubicBezTo>
                <a:close/>
              </a:path>
              <a:path w="5410200" h="13716" stroke="0" extrusionOk="0">
                <a:moveTo>
                  <a:pt x="0" y="0"/>
                </a:moveTo>
                <a:cubicBezTo>
                  <a:pt x="285096" y="-4925"/>
                  <a:pt x="376456" y="22268"/>
                  <a:pt x="622173" y="0"/>
                </a:cubicBezTo>
                <a:cubicBezTo>
                  <a:pt x="867890" y="-22268"/>
                  <a:pt x="1031392" y="7228"/>
                  <a:pt x="1136142" y="0"/>
                </a:cubicBezTo>
                <a:cubicBezTo>
                  <a:pt x="1240892" y="-7228"/>
                  <a:pt x="1561853" y="9877"/>
                  <a:pt x="1920621" y="0"/>
                </a:cubicBezTo>
                <a:cubicBezTo>
                  <a:pt x="2279389" y="-9877"/>
                  <a:pt x="2367255" y="19546"/>
                  <a:pt x="2542794" y="0"/>
                </a:cubicBezTo>
                <a:cubicBezTo>
                  <a:pt x="2718333" y="-19546"/>
                  <a:pt x="2866732" y="-22226"/>
                  <a:pt x="3164967" y="0"/>
                </a:cubicBezTo>
                <a:cubicBezTo>
                  <a:pt x="3463202" y="22226"/>
                  <a:pt x="3568055" y="-2765"/>
                  <a:pt x="3949446" y="0"/>
                </a:cubicBezTo>
                <a:cubicBezTo>
                  <a:pt x="4330837" y="2765"/>
                  <a:pt x="4287895" y="10557"/>
                  <a:pt x="4517517" y="0"/>
                </a:cubicBezTo>
                <a:cubicBezTo>
                  <a:pt x="4747139" y="-10557"/>
                  <a:pt x="5149588" y="8716"/>
                  <a:pt x="5410200" y="0"/>
                </a:cubicBezTo>
                <a:cubicBezTo>
                  <a:pt x="5410660" y="2787"/>
                  <a:pt x="5410166" y="9748"/>
                  <a:pt x="5410200" y="13716"/>
                </a:cubicBezTo>
                <a:cubicBezTo>
                  <a:pt x="5163327" y="36922"/>
                  <a:pt x="5008749" y="6121"/>
                  <a:pt x="4842129" y="13716"/>
                </a:cubicBezTo>
                <a:cubicBezTo>
                  <a:pt x="4675509" y="21311"/>
                  <a:pt x="4433401" y="-5187"/>
                  <a:pt x="4165854" y="13716"/>
                </a:cubicBezTo>
                <a:cubicBezTo>
                  <a:pt x="3898308" y="32619"/>
                  <a:pt x="3809032" y="-13282"/>
                  <a:pt x="3543681" y="13716"/>
                </a:cubicBezTo>
                <a:cubicBezTo>
                  <a:pt x="3278330" y="40714"/>
                  <a:pt x="3073876" y="-20489"/>
                  <a:pt x="2759202" y="13716"/>
                </a:cubicBezTo>
                <a:cubicBezTo>
                  <a:pt x="2444528" y="47921"/>
                  <a:pt x="2204144" y="-1200"/>
                  <a:pt x="1974723" y="13716"/>
                </a:cubicBezTo>
                <a:cubicBezTo>
                  <a:pt x="1745302" y="28632"/>
                  <a:pt x="1602335" y="26918"/>
                  <a:pt x="1406652" y="13716"/>
                </a:cubicBezTo>
                <a:cubicBezTo>
                  <a:pt x="1210969" y="514"/>
                  <a:pt x="923948" y="-1411"/>
                  <a:pt x="730377" y="13716"/>
                </a:cubicBezTo>
                <a:cubicBezTo>
                  <a:pt x="536806" y="28843"/>
                  <a:pt x="336496" y="-4713"/>
                  <a:pt x="0" y="13716"/>
                </a:cubicBezTo>
                <a:cubicBezTo>
                  <a:pt x="-535" y="9547"/>
                  <a:pt x="488" y="4515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1275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5" name="Content Placeholder 2">
            <a:extLst>
              <a:ext uri="{FF2B5EF4-FFF2-40B4-BE49-F238E27FC236}">
                <a16:creationId xmlns:a16="http://schemas.microsoft.com/office/drawing/2014/main" id="{1C6F6A02-877A-D48F-6EA1-6435641667C8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170160164"/>
              </p:ext>
            </p:extLst>
          </p:nvPr>
        </p:nvGraphicFramePr>
        <p:xfrm>
          <a:off x="3486013" y="640822"/>
          <a:ext cx="5175384" cy="376679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pic>
        <p:nvPicPr>
          <p:cNvPr id="4" name="Picture 3" descr="A group of books with arabic writing&#10;&#10;AI-generated content may be incorrect.">
            <a:extLst>
              <a:ext uri="{FF2B5EF4-FFF2-40B4-BE49-F238E27FC236}">
                <a16:creationId xmlns:a16="http://schemas.microsoft.com/office/drawing/2014/main" id="{412E41BB-5A04-BC1A-0F21-D17D6F549560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366517" y="4484671"/>
            <a:ext cx="3835745" cy="1969707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4400">
        <p14:honeycomb/>
      </p:transition>
    </mc:Choice>
    <mc:Fallback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DE3DDBF-8427-EB26-C448-DF907F726E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83B96371-4792-90F3-D6DA-C318AF2AFDF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32822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2B504E6-228D-9A3A-D2F2-34F58409C2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 descr="A newspaper with a person's face&#10;&#10;AI-generated content may be incorrect.">
            <a:extLst>
              <a:ext uri="{FF2B5EF4-FFF2-40B4-BE49-F238E27FC236}">
                <a16:creationId xmlns:a16="http://schemas.microsoft.com/office/drawing/2014/main" id="{1387CA8B-3661-7093-BD13-108AD002503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86013" y="3913090"/>
            <a:ext cx="5506948" cy="284172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4032B61-C16E-C8AA-A985-8C0D5974A2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6250" y="640823"/>
            <a:ext cx="2563994" cy="5583148"/>
          </a:xfrm>
        </p:spPr>
        <p:txBody>
          <a:bodyPr vert="horz" anchor="ctr">
            <a:normAutofit/>
          </a:bodyPr>
          <a:lstStyle/>
          <a:p>
            <a:pPr>
              <a:defRPr sz="4400" b="1">
                <a:solidFill>
                  <a:srgbClr val="D4AF37"/>
                </a:solidFill>
              </a:defRPr>
            </a:pPr>
            <a:r>
              <a:rPr lang="ar-JO" sz="4700" dirty="0"/>
              <a:t>إنجازاته</a:t>
            </a:r>
          </a:p>
        </p:txBody>
      </p:sp>
      <p:graphicFrame>
        <p:nvGraphicFramePr>
          <p:cNvPr id="5" name="Content Placeholder 2">
            <a:extLst>
              <a:ext uri="{FF2B5EF4-FFF2-40B4-BE49-F238E27FC236}">
                <a16:creationId xmlns:a16="http://schemas.microsoft.com/office/drawing/2014/main" id="{8238216C-4631-7E59-EA69-BD9B6140E33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665047084"/>
              </p:ext>
            </p:extLst>
          </p:nvPr>
        </p:nvGraphicFramePr>
        <p:xfrm>
          <a:off x="3486013" y="640823"/>
          <a:ext cx="5175384" cy="41880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</p:spTree>
    <p:extLst>
      <p:ext uri="{BB962C8B-B14F-4D97-AF65-F5344CB8AC3E}">
        <p14:creationId xmlns:p14="http://schemas.microsoft.com/office/powerpoint/2010/main" val="30428936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3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4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5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6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8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9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0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05A00CB8-1B13-50DD-2EB5-F2A44E80C78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12730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56E9B3E6-E277-4D68-BA48-9CB43FFBD6E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143999" cy="685736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E1C45F0-260A-458C-96ED-C1F6D21512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0" y="1216597"/>
            <a:ext cx="548639" cy="673460"/>
            <a:chOff x="3940602" y="308034"/>
            <a:chExt cx="2116791" cy="3428999"/>
          </a:xfrm>
          <a:solidFill>
            <a:schemeClr val="accent4"/>
          </a:solidFill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A6604B49-AD5C-4590-B051-06C8222ECD9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940602" y="308034"/>
              <a:ext cx="566743" cy="342899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743ECCAF-29C5-4537-947C-7EA1292463D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4715626" y="308034"/>
              <a:ext cx="566743" cy="342899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ED49787B-8DE6-4467-AD0A-8DECC6E0C2D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5490650" y="308034"/>
              <a:ext cx="566743" cy="342899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6" name="Rectangle 15">
            <a:extLst>
              <a:ext uri="{FF2B5EF4-FFF2-40B4-BE49-F238E27FC236}">
                <a16:creationId xmlns:a16="http://schemas.microsoft.com/office/drawing/2014/main" id="{D5B0017B-2ECA-49AF-B397-DC140825DF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80059" y="613954"/>
            <a:ext cx="8180615" cy="189411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39700" dist="1270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723" y="809898"/>
            <a:ext cx="7629757" cy="1554480"/>
          </a:xfrm>
        </p:spPr>
        <p:txBody>
          <a:bodyPr vert="horz" anchor="ctr">
            <a:normAutofit/>
          </a:bodyPr>
          <a:lstStyle/>
          <a:p>
            <a:pPr>
              <a:defRPr sz="4400" b="1">
                <a:solidFill>
                  <a:srgbClr val="D4AF37"/>
                </a:solidFill>
              </a:defRPr>
            </a:pPr>
            <a:r>
              <a:rPr lang="ar-JO" sz="4200"/>
              <a:t>أثره في الأدب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6CF1BAF6-AD41-4082-B212-8A1F9A2E877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H="1">
            <a:off x="628650" y="6485313"/>
            <a:ext cx="7886700" cy="0"/>
          </a:xfrm>
          <a:prstGeom prst="line">
            <a:avLst/>
          </a:prstGeom>
          <a:ln w="571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" name="Content Placeholder 2">
            <a:extLst>
              <a:ext uri="{FF2B5EF4-FFF2-40B4-BE49-F238E27FC236}">
                <a16:creationId xmlns:a16="http://schemas.microsoft.com/office/drawing/2014/main" id="{8C9C8CBB-EADD-95FB-4902-6FEA33C74BAE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359954357"/>
              </p:ext>
            </p:extLst>
          </p:nvPr>
        </p:nvGraphicFramePr>
        <p:xfrm>
          <a:off x="678451" y="3017519"/>
          <a:ext cx="7783830" cy="320990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500">
        <p:checker/>
      </p:transition>
    </mc:Choice>
    <mc:Fallback>
      <p:transition spd="slow">
        <p:checker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97679F0-F3B1-1000-04CE-163CA882E2D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92855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AFA67CD3-AB4E-4A7A-BEB8-53C445D8C44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860045"/>
            <a:ext cx="4694659" cy="5734050"/>
          </a:xfrm>
          <a:prstGeom prst="rect">
            <a:avLst/>
          </a:prstGeom>
          <a:gradFill>
            <a:gsLst>
              <a:gs pos="0">
                <a:schemeClr val="accent1">
                  <a:lumMod val="100000"/>
                  <a:alpha val="82000"/>
                </a:schemeClr>
              </a:gs>
              <a:gs pos="25000">
                <a:schemeClr val="accent1">
                  <a:alpha val="60000"/>
                </a:schemeClr>
              </a:gs>
              <a:gs pos="94000">
                <a:schemeClr val="bg2">
                  <a:lumMod val="75000"/>
                </a:schemeClr>
              </a:gs>
              <a:gs pos="100000">
                <a:schemeClr val="bg2">
                  <a:lumMod val="7500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7CF545F-9C2E-4446-97CD-AD92990C2B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0299"/>
          <a:stretch/>
        </p:blipFill>
        <p:spPr>
          <a:xfrm>
            <a:off x="-1" y="857250"/>
            <a:ext cx="9144001" cy="573405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578" y="1257300"/>
            <a:ext cx="3988849" cy="1381125"/>
          </a:xfrm>
        </p:spPr>
        <p:txBody>
          <a:bodyPr vert="horz">
            <a:normAutofit/>
          </a:bodyPr>
          <a:lstStyle/>
          <a:p>
            <a:pPr>
              <a:defRPr sz="4400" b="1">
                <a:solidFill>
                  <a:srgbClr val="D4AF37"/>
                </a:solidFill>
              </a:defRPr>
            </a:pPr>
            <a:r>
              <a:rPr lang="ar-JO" b="1" dirty="0">
                <a:solidFill>
                  <a:srgbClr val="D4AF37"/>
                </a:solidFill>
              </a:rPr>
              <a:t>الخاتمة</a:t>
            </a:r>
          </a:p>
        </p:txBody>
      </p:sp>
      <p:sp>
        <p:nvSpPr>
          <p:cNvPr id="14" name="Freeform 62">
            <a:extLst>
              <a:ext uri="{FF2B5EF4-FFF2-40B4-BE49-F238E27FC236}">
                <a16:creationId xmlns:a16="http://schemas.microsoft.com/office/drawing/2014/main" id="{339C8D78-A644-462F-B674-F440635E53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9525" y="1468363"/>
            <a:ext cx="4180922" cy="4515805"/>
          </a:xfrm>
          <a:custGeom>
            <a:avLst/>
            <a:gdLst>
              <a:gd name="connsiteX0" fmla="*/ 2299956 w 5000438"/>
              <a:gd name="connsiteY0" fmla="*/ 0 h 5400962"/>
              <a:gd name="connsiteX1" fmla="*/ 5000438 w 5000438"/>
              <a:gd name="connsiteY1" fmla="*/ 2700481 h 5400962"/>
              <a:gd name="connsiteX2" fmla="*/ 2299956 w 5000438"/>
              <a:gd name="connsiteY2" fmla="*/ 5400962 h 5400962"/>
              <a:gd name="connsiteX3" fmla="*/ 60675 w 5000438"/>
              <a:gd name="connsiteY3" fmla="*/ 4210346 h 5400962"/>
              <a:gd name="connsiteX4" fmla="*/ 0 w 5000438"/>
              <a:gd name="connsiteY4" fmla="*/ 4110472 h 5400962"/>
              <a:gd name="connsiteX5" fmla="*/ 0 w 5000438"/>
              <a:gd name="connsiteY5" fmla="*/ 1290491 h 5400962"/>
              <a:gd name="connsiteX6" fmla="*/ 60675 w 5000438"/>
              <a:gd name="connsiteY6" fmla="*/ 1190617 h 5400962"/>
              <a:gd name="connsiteX7" fmla="*/ 2299956 w 5000438"/>
              <a:gd name="connsiteY7" fmla="*/ 0 h 5400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00438" h="5400962">
                <a:moveTo>
                  <a:pt x="2299956" y="0"/>
                </a:moveTo>
                <a:cubicBezTo>
                  <a:pt x="3791390" y="0"/>
                  <a:pt x="5000438" y="1209047"/>
                  <a:pt x="5000438" y="2700481"/>
                </a:cubicBezTo>
                <a:cubicBezTo>
                  <a:pt x="5000438" y="4191915"/>
                  <a:pt x="3791390" y="5400962"/>
                  <a:pt x="2299956" y="5400962"/>
                </a:cubicBezTo>
                <a:cubicBezTo>
                  <a:pt x="1367810" y="5400962"/>
                  <a:pt x="545971" y="4928678"/>
                  <a:pt x="60675" y="4210346"/>
                </a:cubicBezTo>
                <a:lnTo>
                  <a:pt x="0" y="4110472"/>
                </a:lnTo>
                <a:lnTo>
                  <a:pt x="0" y="1290491"/>
                </a:lnTo>
                <a:lnTo>
                  <a:pt x="60675" y="1190617"/>
                </a:lnTo>
                <a:cubicBezTo>
                  <a:pt x="545971" y="472284"/>
                  <a:pt x="1367810" y="0"/>
                  <a:pt x="2299956" y="0"/>
                </a:cubicBezTo>
                <a:close/>
              </a:path>
            </a:pathLst>
          </a:custGeom>
          <a:solidFill>
            <a:srgbClr val="FFFFFF"/>
          </a:solidFill>
          <a:ln>
            <a:gradFill>
              <a:gsLst>
                <a:gs pos="0">
                  <a:schemeClr val="accent1">
                    <a:lumMod val="40000"/>
                    <a:lumOff val="60000"/>
                  </a:schemeClr>
                </a:gs>
                <a:gs pos="23000">
                  <a:schemeClr val="accent1">
                    <a:lumMod val="45000"/>
                    <a:lumOff val="55000"/>
                  </a:schemeClr>
                </a:gs>
                <a:gs pos="83000">
                  <a:schemeClr val="bg2">
                    <a:lumMod val="85000"/>
                  </a:schemeClr>
                </a:gs>
                <a:gs pos="100000">
                  <a:schemeClr val="bg2">
                    <a:lumMod val="8500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350"/>
          </a:p>
        </p:txBody>
      </p:sp>
      <p:pic>
        <p:nvPicPr>
          <p:cNvPr id="7" name="Graphic 6" descr="Onion">
            <a:extLst>
              <a:ext uri="{FF2B5EF4-FFF2-40B4-BE49-F238E27FC236}">
                <a16:creationId xmlns:a16="http://schemas.microsoft.com/office/drawing/2014/main" id="{B84563D0-97B7-B7D6-102E-BCD5D84BAD8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39490" y="2079067"/>
            <a:ext cx="3026740" cy="3026740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0579" y="2947260"/>
            <a:ext cx="4003614" cy="2927188"/>
          </a:xfrm>
        </p:spPr>
        <p:txBody>
          <a:bodyPr anchor="ctr">
            <a:normAutofit/>
          </a:bodyPr>
          <a:lstStyle/>
          <a:p>
            <a:pPr marL="0" indent="0" algn="r" rtl="1">
              <a:buNone/>
              <a:defRPr sz="2800" b="0">
                <a:solidFill>
                  <a:srgbClr val="003366"/>
                </a:solidFill>
              </a:defRPr>
            </a:pPr>
            <a:r>
              <a:rPr lang="ar-JO" sz="2800" dirty="0">
                <a:solidFill>
                  <a:srgbClr val="003366"/>
                </a:solidFill>
              </a:rPr>
              <a:t>نجيب محفوظ ترك </a:t>
            </a:r>
            <a:r>
              <a:rPr lang="ar-JO" sz="2800" b="1" dirty="0">
                <a:solidFill>
                  <a:srgbClr val="003366"/>
                </a:solidFill>
              </a:rPr>
              <a:t>أثراً كبيراً </a:t>
            </a:r>
            <a:r>
              <a:rPr lang="ar-JO" sz="2800" dirty="0">
                <a:solidFill>
                  <a:srgbClr val="003366"/>
                </a:solidFill>
              </a:rPr>
              <a:t>في الأدب العربي.</a:t>
            </a:r>
          </a:p>
          <a:p>
            <a:pPr marL="0" indent="0" algn="r" rtl="1">
              <a:buNone/>
              <a:defRPr sz="2800" b="0">
                <a:solidFill>
                  <a:srgbClr val="003366"/>
                </a:solidFill>
              </a:defRPr>
            </a:pPr>
            <a:r>
              <a:rPr lang="ar-JO" sz="2800" dirty="0">
                <a:solidFill>
                  <a:srgbClr val="003366"/>
                </a:solidFill>
              </a:rPr>
              <a:t>وسيظل اسمه </a:t>
            </a:r>
            <a:r>
              <a:rPr lang="ar-JO" sz="2800" b="1" dirty="0">
                <a:solidFill>
                  <a:srgbClr val="003366"/>
                </a:solidFill>
              </a:rPr>
              <a:t>خالداً</a:t>
            </a:r>
            <a:r>
              <a:rPr lang="ar-JO" sz="2800" dirty="0">
                <a:solidFill>
                  <a:srgbClr val="003366"/>
                </a:solidFill>
              </a:rPr>
              <a:t> بين كبار الأدباء.</a:t>
            </a: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F4D37DC-0B99-67E2-1C2D-5089DEA4A52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20220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4D24BFD5-D814-402B-B6C4-EEF6AE14B0F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141714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1122362"/>
            <a:ext cx="4711446" cy="4135437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l" defTabSz="914400">
              <a:lnSpc>
                <a:spcPct val="90000"/>
              </a:lnSpc>
              <a:defRPr sz="4400" b="1">
                <a:solidFill>
                  <a:srgbClr val="D4AF37"/>
                </a:solidFill>
              </a:defRPr>
            </a:pPr>
            <a:r>
              <a:rPr lang="en-US" sz="5700" kern="1200" dirty="0" err="1">
                <a:solidFill>
                  <a:schemeClr val="tx1"/>
                </a:solidFill>
                <a:latin typeface="+mj-lt"/>
                <a:ea typeface="+mj-ea"/>
                <a:cs typeface="+mj-cs"/>
              </a:rPr>
              <a:t>شكرًا</a:t>
            </a:r>
            <a:r>
              <a:rPr lang="en-US" sz="57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5700" kern="1200" dirty="0" err="1">
                <a:solidFill>
                  <a:schemeClr val="tx1"/>
                </a:solidFill>
                <a:latin typeface="+mj-lt"/>
                <a:ea typeface="+mj-ea"/>
                <a:cs typeface="+mj-cs"/>
              </a:rPr>
              <a:t>لحسن</a:t>
            </a:r>
            <a:r>
              <a:rPr lang="en-US" sz="57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5700" kern="1200" dirty="0" err="1">
                <a:solidFill>
                  <a:schemeClr val="tx1"/>
                </a:solidFill>
                <a:latin typeface="+mj-lt"/>
                <a:ea typeface="+mj-ea"/>
                <a:cs typeface="+mj-cs"/>
              </a:rPr>
              <a:t>الاستماع</a:t>
            </a:r>
            <a:r>
              <a:rPr lang="en-US" sz="57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 🤍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6FED7E8-9A97-475F-9FA4-113410D443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779604" y="1031284"/>
            <a:ext cx="2735746" cy="4436126"/>
          </a:xfrm>
          <a:custGeom>
            <a:avLst/>
            <a:gdLst>
              <a:gd name="connsiteX0" fmla="*/ 0 w 2735746"/>
              <a:gd name="connsiteY0" fmla="*/ 0 h 4436126"/>
              <a:gd name="connsiteX1" fmla="*/ 601864 w 2735746"/>
              <a:gd name="connsiteY1" fmla="*/ 0 h 4436126"/>
              <a:gd name="connsiteX2" fmla="*/ 1203728 w 2735746"/>
              <a:gd name="connsiteY2" fmla="*/ 0 h 4436126"/>
              <a:gd name="connsiteX3" fmla="*/ 1860307 w 2735746"/>
              <a:gd name="connsiteY3" fmla="*/ 0 h 4436126"/>
              <a:gd name="connsiteX4" fmla="*/ 2735746 w 2735746"/>
              <a:gd name="connsiteY4" fmla="*/ 0 h 4436126"/>
              <a:gd name="connsiteX5" fmla="*/ 2735746 w 2735746"/>
              <a:gd name="connsiteY5" fmla="*/ 722455 h 4436126"/>
              <a:gd name="connsiteX6" fmla="*/ 2735746 w 2735746"/>
              <a:gd name="connsiteY6" fmla="*/ 1400548 h 4436126"/>
              <a:gd name="connsiteX7" fmla="*/ 2735746 w 2735746"/>
              <a:gd name="connsiteY7" fmla="*/ 2123003 h 4436126"/>
              <a:gd name="connsiteX8" fmla="*/ 2735746 w 2735746"/>
              <a:gd name="connsiteY8" fmla="*/ 2623652 h 4436126"/>
              <a:gd name="connsiteX9" fmla="*/ 2735746 w 2735746"/>
              <a:gd name="connsiteY9" fmla="*/ 3346106 h 4436126"/>
              <a:gd name="connsiteX10" fmla="*/ 2735746 w 2735746"/>
              <a:gd name="connsiteY10" fmla="*/ 4436126 h 4436126"/>
              <a:gd name="connsiteX11" fmla="*/ 2106524 w 2735746"/>
              <a:gd name="connsiteY11" fmla="*/ 4436126 h 4436126"/>
              <a:gd name="connsiteX12" fmla="*/ 1449945 w 2735746"/>
              <a:gd name="connsiteY12" fmla="*/ 4436126 h 4436126"/>
              <a:gd name="connsiteX13" fmla="*/ 793366 w 2735746"/>
              <a:gd name="connsiteY13" fmla="*/ 4436126 h 4436126"/>
              <a:gd name="connsiteX14" fmla="*/ 0 w 2735746"/>
              <a:gd name="connsiteY14" fmla="*/ 4436126 h 4436126"/>
              <a:gd name="connsiteX15" fmla="*/ 0 w 2735746"/>
              <a:gd name="connsiteY15" fmla="*/ 3713671 h 4436126"/>
              <a:gd name="connsiteX16" fmla="*/ 0 w 2735746"/>
              <a:gd name="connsiteY16" fmla="*/ 3124300 h 4436126"/>
              <a:gd name="connsiteX17" fmla="*/ 0 w 2735746"/>
              <a:gd name="connsiteY17" fmla="*/ 2446207 h 4436126"/>
              <a:gd name="connsiteX18" fmla="*/ 0 w 2735746"/>
              <a:gd name="connsiteY18" fmla="*/ 1856836 h 4436126"/>
              <a:gd name="connsiteX19" fmla="*/ 0 w 2735746"/>
              <a:gd name="connsiteY19" fmla="*/ 1178742 h 4436126"/>
              <a:gd name="connsiteX20" fmla="*/ 0 w 2735746"/>
              <a:gd name="connsiteY20" fmla="*/ 678094 h 4436126"/>
              <a:gd name="connsiteX21" fmla="*/ 0 w 2735746"/>
              <a:gd name="connsiteY21" fmla="*/ 0 h 44361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2735746" h="4436126" fill="none" extrusionOk="0">
                <a:moveTo>
                  <a:pt x="0" y="0"/>
                </a:moveTo>
                <a:cubicBezTo>
                  <a:pt x="179540" y="26169"/>
                  <a:pt x="438012" y="23230"/>
                  <a:pt x="601864" y="0"/>
                </a:cubicBezTo>
                <a:cubicBezTo>
                  <a:pt x="765716" y="-23230"/>
                  <a:pt x="955038" y="-5127"/>
                  <a:pt x="1203728" y="0"/>
                </a:cubicBezTo>
                <a:cubicBezTo>
                  <a:pt x="1452418" y="5127"/>
                  <a:pt x="1646417" y="-25974"/>
                  <a:pt x="1860307" y="0"/>
                </a:cubicBezTo>
                <a:cubicBezTo>
                  <a:pt x="2074197" y="25974"/>
                  <a:pt x="2430568" y="-26480"/>
                  <a:pt x="2735746" y="0"/>
                </a:cubicBezTo>
                <a:cubicBezTo>
                  <a:pt x="2706048" y="340749"/>
                  <a:pt x="2740838" y="495871"/>
                  <a:pt x="2735746" y="722455"/>
                </a:cubicBezTo>
                <a:cubicBezTo>
                  <a:pt x="2730654" y="949039"/>
                  <a:pt x="2752433" y="1198388"/>
                  <a:pt x="2735746" y="1400548"/>
                </a:cubicBezTo>
                <a:cubicBezTo>
                  <a:pt x="2719059" y="1602708"/>
                  <a:pt x="2715247" y="1770847"/>
                  <a:pt x="2735746" y="2123003"/>
                </a:cubicBezTo>
                <a:cubicBezTo>
                  <a:pt x="2756245" y="2475160"/>
                  <a:pt x="2751062" y="2522091"/>
                  <a:pt x="2735746" y="2623652"/>
                </a:cubicBezTo>
                <a:cubicBezTo>
                  <a:pt x="2720430" y="2725213"/>
                  <a:pt x="2753604" y="3142493"/>
                  <a:pt x="2735746" y="3346106"/>
                </a:cubicBezTo>
                <a:cubicBezTo>
                  <a:pt x="2717888" y="3549719"/>
                  <a:pt x="2748400" y="4025565"/>
                  <a:pt x="2735746" y="4436126"/>
                </a:cubicBezTo>
                <a:cubicBezTo>
                  <a:pt x="2455834" y="4434463"/>
                  <a:pt x="2336666" y="4425166"/>
                  <a:pt x="2106524" y="4436126"/>
                </a:cubicBezTo>
                <a:cubicBezTo>
                  <a:pt x="1876382" y="4447086"/>
                  <a:pt x="1601121" y="4420147"/>
                  <a:pt x="1449945" y="4436126"/>
                </a:cubicBezTo>
                <a:cubicBezTo>
                  <a:pt x="1298769" y="4452105"/>
                  <a:pt x="950963" y="4404014"/>
                  <a:pt x="793366" y="4436126"/>
                </a:cubicBezTo>
                <a:cubicBezTo>
                  <a:pt x="635769" y="4468238"/>
                  <a:pt x="300146" y="4462205"/>
                  <a:pt x="0" y="4436126"/>
                </a:cubicBezTo>
                <a:cubicBezTo>
                  <a:pt x="25833" y="4232419"/>
                  <a:pt x="3486" y="4019021"/>
                  <a:pt x="0" y="3713671"/>
                </a:cubicBezTo>
                <a:cubicBezTo>
                  <a:pt x="-3486" y="3408322"/>
                  <a:pt x="-27541" y="3277286"/>
                  <a:pt x="0" y="3124300"/>
                </a:cubicBezTo>
                <a:cubicBezTo>
                  <a:pt x="27541" y="2971314"/>
                  <a:pt x="31162" y="2762025"/>
                  <a:pt x="0" y="2446207"/>
                </a:cubicBezTo>
                <a:cubicBezTo>
                  <a:pt x="-31162" y="2130389"/>
                  <a:pt x="9656" y="2027375"/>
                  <a:pt x="0" y="1856836"/>
                </a:cubicBezTo>
                <a:cubicBezTo>
                  <a:pt x="-9656" y="1686297"/>
                  <a:pt x="-14688" y="1512539"/>
                  <a:pt x="0" y="1178742"/>
                </a:cubicBezTo>
                <a:cubicBezTo>
                  <a:pt x="14688" y="844945"/>
                  <a:pt x="2890" y="917816"/>
                  <a:pt x="0" y="678094"/>
                </a:cubicBezTo>
                <a:cubicBezTo>
                  <a:pt x="-2890" y="438372"/>
                  <a:pt x="5448" y="207647"/>
                  <a:pt x="0" y="0"/>
                </a:cubicBezTo>
                <a:close/>
              </a:path>
              <a:path w="2735746" h="4436126" stroke="0" extrusionOk="0">
                <a:moveTo>
                  <a:pt x="0" y="0"/>
                </a:moveTo>
                <a:cubicBezTo>
                  <a:pt x="209894" y="16338"/>
                  <a:pt x="375877" y="-31334"/>
                  <a:pt x="629222" y="0"/>
                </a:cubicBezTo>
                <a:cubicBezTo>
                  <a:pt x="882567" y="31334"/>
                  <a:pt x="997255" y="-29736"/>
                  <a:pt x="1258443" y="0"/>
                </a:cubicBezTo>
                <a:cubicBezTo>
                  <a:pt x="1519631" y="29736"/>
                  <a:pt x="1769008" y="-24969"/>
                  <a:pt x="1942380" y="0"/>
                </a:cubicBezTo>
                <a:cubicBezTo>
                  <a:pt x="2115752" y="24969"/>
                  <a:pt x="2487652" y="32052"/>
                  <a:pt x="2735746" y="0"/>
                </a:cubicBezTo>
                <a:cubicBezTo>
                  <a:pt x="2751518" y="246908"/>
                  <a:pt x="2711283" y="325094"/>
                  <a:pt x="2735746" y="589371"/>
                </a:cubicBezTo>
                <a:cubicBezTo>
                  <a:pt x="2760209" y="853648"/>
                  <a:pt x="2718833" y="972107"/>
                  <a:pt x="2735746" y="1090020"/>
                </a:cubicBezTo>
                <a:cubicBezTo>
                  <a:pt x="2752659" y="1207933"/>
                  <a:pt x="2729992" y="1582062"/>
                  <a:pt x="2735746" y="1812474"/>
                </a:cubicBezTo>
                <a:cubicBezTo>
                  <a:pt x="2741500" y="2042886"/>
                  <a:pt x="2707628" y="2235903"/>
                  <a:pt x="2735746" y="2401845"/>
                </a:cubicBezTo>
                <a:cubicBezTo>
                  <a:pt x="2763864" y="2567787"/>
                  <a:pt x="2758150" y="2913761"/>
                  <a:pt x="2735746" y="3124300"/>
                </a:cubicBezTo>
                <a:cubicBezTo>
                  <a:pt x="2713342" y="3334839"/>
                  <a:pt x="2720989" y="3582863"/>
                  <a:pt x="2735746" y="3758032"/>
                </a:cubicBezTo>
                <a:cubicBezTo>
                  <a:pt x="2750503" y="3933201"/>
                  <a:pt x="2736802" y="4250321"/>
                  <a:pt x="2735746" y="4436126"/>
                </a:cubicBezTo>
                <a:cubicBezTo>
                  <a:pt x="2480396" y="4409468"/>
                  <a:pt x="2193035" y="4433672"/>
                  <a:pt x="2051810" y="4436126"/>
                </a:cubicBezTo>
                <a:cubicBezTo>
                  <a:pt x="1910585" y="4438580"/>
                  <a:pt x="1557696" y="4442846"/>
                  <a:pt x="1422588" y="4436126"/>
                </a:cubicBezTo>
                <a:cubicBezTo>
                  <a:pt x="1287480" y="4429406"/>
                  <a:pt x="1114403" y="4428562"/>
                  <a:pt x="820724" y="4436126"/>
                </a:cubicBezTo>
                <a:cubicBezTo>
                  <a:pt x="527045" y="4443690"/>
                  <a:pt x="375914" y="4447757"/>
                  <a:pt x="0" y="4436126"/>
                </a:cubicBezTo>
                <a:cubicBezTo>
                  <a:pt x="-31538" y="4174476"/>
                  <a:pt x="-31250" y="4099935"/>
                  <a:pt x="0" y="3802394"/>
                </a:cubicBezTo>
                <a:cubicBezTo>
                  <a:pt x="31250" y="3504853"/>
                  <a:pt x="9806" y="3349077"/>
                  <a:pt x="0" y="3213023"/>
                </a:cubicBezTo>
                <a:cubicBezTo>
                  <a:pt x="-9806" y="3076969"/>
                  <a:pt x="-22953" y="2900441"/>
                  <a:pt x="0" y="2712374"/>
                </a:cubicBezTo>
                <a:cubicBezTo>
                  <a:pt x="22953" y="2524307"/>
                  <a:pt x="-35854" y="2231517"/>
                  <a:pt x="0" y="1989919"/>
                </a:cubicBezTo>
                <a:cubicBezTo>
                  <a:pt x="35854" y="1748321"/>
                  <a:pt x="1945" y="1519865"/>
                  <a:pt x="0" y="1400548"/>
                </a:cubicBezTo>
                <a:cubicBezTo>
                  <a:pt x="-1945" y="1281231"/>
                  <a:pt x="-11601" y="971726"/>
                  <a:pt x="0" y="811177"/>
                </a:cubicBezTo>
                <a:cubicBezTo>
                  <a:pt x="11601" y="650628"/>
                  <a:pt x="34125" y="210794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57150">
            <a:solidFill>
              <a:schemeClr val="accent2"/>
            </a:solidFill>
            <a:extLst>
              <a:ext uri="{C807C97D-BFC1-408E-A445-0C87EB9F89A2}">
                <ask:lineSketchStyleProps xmlns:ask="http://schemas.microsoft.com/office/drawing/2018/sketchyshapes" sd="687283399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946085" y="1232452"/>
            <a:ext cx="2400300" cy="3850919"/>
          </a:xfrm>
        </p:spPr>
        <p:txBody>
          <a:bodyPr vert="horz" lIns="91440" tIns="45720" rIns="91440" bIns="45720" rtlCol="0" anchor="b">
            <a:normAutofit/>
          </a:bodyPr>
          <a:lstStyle/>
          <a:p>
            <a:pPr marL="0" indent="0" algn="ctr" defTabSz="914400">
              <a:lnSpc>
                <a:spcPct val="90000"/>
              </a:lnSpc>
              <a:spcBef>
                <a:spcPts val="1000"/>
              </a:spcBef>
              <a:buNone/>
              <a:defRPr sz="2800" b="0">
                <a:solidFill>
                  <a:srgbClr val="003366"/>
                </a:solidFill>
              </a:defRPr>
            </a:pPr>
            <a:r>
              <a:rPr lang="en-US" sz="2800" kern="1200" dirty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إ</a:t>
            </a:r>
            <a:r>
              <a:rPr lang="ar-JO" sz="2800" kern="1200" dirty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عداد الطالبة: ليا اليعقوب.</a:t>
            </a:r>
            <a:endParaRPr lang="en-US" sz="2800" kern="1200" dirty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sketch line">
            <a:extLst>
              <a:ext uri="{FF2B5EF4-FFF2-40B4-BE49-F238E27FC236}">
                <a16:creationId xmlns:a16="http://schemas.microsoft.com/office/drawing/2014/main" id="{2A39B854-4B6C-4F7F-A602-6F97770CED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28649" y="5439978"/>
            <a:ext cx="4711446" cy="18288"/>
          </a:xfrm>
          <a:custGeom>
            <a:avLst/>
            <a:gdLst>
              <a:gd name="connsiteX0" fmla="*/ 0 w 4711446"/>
              <a:gd name="connsiteY0" fmla="*/ 0 h 18288"/>
              <a:gd name="connsiteX1" fmla="*/ 625949 w 4711446"/>
              <a:gd name="connsiteY1" fmla="*/ 0 h 18288"/>
              <a:gd name="connsiteX2" fmla="*/ 1157670 w 4711446"/>
              <a:gd name="connsiteY2" fmla="*/ 0 h 18288"/>
              <a:gd name="connsiteX3" fmla="*/ 1736504 w 4711446"/>
              <a:gd name="connsiteY3" fmla="*/ 0 h 18288"/>
              <a:gd name="connsiteX4" fmla="*/ 2456683 w 4711446"/>
              <a:gd name="connsiteY4" fmla="*/ 0 h 18288"/>
              <a:gd name="connsiteX5" fmla="*/ 3082632 w 4711446"/>
              <a:gd name="connsiteY5" fmla="*/ 0 h 18288"/>
              <a:gd name="connsiteX6" fmla="*/ 3661467 w 4711446"/>
              <a:gd name="connsiteY6" fmla="*/ 0 h 18288"/>
              <a:gd name="connsiteX7" fmla="*/ 4711446 w 4711446"/>
              <a:gd name="connsiteY7" fmla="*/ 0 h 18288"/>
              <a:gd name="connsiteX8" fmla="*/ 4711446 w 4711446"/>
              <a:gd name="connsiteY8" fmla="*/ 18288 h 18288"/>
              <a:gd name="connsiteX9" fmla="*/ 4038382 w 4711446"/>
              <a:gd name="connsiteY9" fmla="*/ 18288 h 18288"/>
              <a:gd name="connsiteX10" fmla="*/ 3459547 w 4711446"/>
              <a:gd name="connsiteY10" fmla="*/ 18288 h 18288"/>
              <a:gd name="connsiteX11" fmla="*/ 2692255 w 4711446"/>
              <a:gd name="connsiteY11" fmla="*/ 18288 h 18288"/>
              <a:gd name="connsiteX12" fmla="*/ 2066306 w 4711446"/>
              <a:gd name="connsiteY12" fmla="*/ 18288 h 18288"/>
              <a:gd name="connsiteX13" fmla="*/ 1534585 w 4711446"/>
              <a:gd name="connsiteY13" fmla="*/ 18288 h 18288"/>
              <a:gd name="connsiteX14" fmla="*/ 814407 w 4711446"/>
              <a:gd name="connsiteY14" fmla="*/ 18288 h 18288"/>
              <a:gd name="connsiteX15" fmla="*/ 0 w 4711446"/>
              <a:gd name="connsiteY15" fmla="*/ 18288 h 18288"/>
              <a:gd name="connsiteX16" fmla="*/ 0 w 4711446"/>
              <a:gd name="connsiteY16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4711446" h="18288" fill="none" extrusionOk="0">
                <a:moveTo>
                  <a:pt x="0" y="0"/>
                </a:moveTo>
                <a:cubicBezTo>
                  <a:pt x="275996" y="-6775"/>
                  <a:pt x="430270" y="12128"/>
                  <a:pt x="625949" y="0"/>
                </a:cubicBezTo>
                <a:cubicBezTo>
                  <a:pt x="821628" y="-12128"/>
                  <a:pt x="953153" y="2170"/>
                  <a:pt x="1157670" y="0"/>
                </a:cubicBezTo>
                <a:cubicBezTo>
                  <a:pt x="1362187" y="-2170"/>
                  <a:pt x="1508708" y="24986"/>
                  <a:pt x="1736504" y="0"/>
                </a:cubicBezTo>
                <a:cubicBezTo>
                  <a:pt x="1964300" y="-24986"/>
                  <a:pt x="2114331" y="-14747"/>
                  <a:pt x="2456683" y="0"/>
                </a:cubicBezTo>
                <a:cubicBezTo>
                  <a:pt x="2799035" y="14747"/>
                  <a:pt x="2904885" y="27883"/>
                  <a:pt x="3082632" y="0"/>
                </a:cubicBezTo>
                <a:cubicBezTo>
                  <a:pt x="3260379" y="-27883"/>
                  <a:pt x="3449277" y="21284"/>
                  <a:pt x="3661467" y="0"/>
                </a:cubicBezTo>
                <a:cubicBezTo>
                  <a:pt x="3873658" y="-21284"/>
                  <a:pt x="4403906" y="12447"/>
                  <a:pt x="4711446" y="0"/>
                </a:cubicBezTo>
                <a:cubicBezTo>
                  <a:pt x="4711844" y="7429"/>
                  <a:pt x="4711426" y="10822"/>
                  <a:pt x="4711446" y="18288"/>
                </a:cubicBezTo>
                <a:cubicBezTo>
                  <a:pt x="4441704" y="14143"/>
                  <a:pt x="4312170" y="5146"/>
                  <a:pt x="4038382" y="18288"/>
                </a:cubicBezTo>
                <a:cubicBezTo>
                  <a:pt x="3764594" y="31430"/>
                  <a:pt x="3716634" y="24680"/>
                  <a:pt x="3459547" y="18288"/>
                </a:cubicBezTo>
                <a:cubicBezTo>
                  <a:pt x="3202460" y="11896"/>
                  <a:pt x="2879854" y="19674"/>
                  <a:pt x="2692255" y="18288"/>
                </a:cubicBezTo>
                <a:cubicBezTo>
                  <a:pt x="2504656" y="16902"/>
                  <a:pt x="2223731" y="-2796"/>
                  <a:pt x="2066306" y="18288"/>
                </a:cubicBezTo>
                <a:cubicBezTo>
                  <a:pt x="1908881" y="39372"/>
                  <a:pt x="1781464" y="10855"/>
                  <a:pt x="1534585" y="18288"/>
                </a:cubicBezTo>
                <a:cubicBezTo>
                  <a:pt x="1287706" y="25721"/>
                  <a:pt x="979966" y="-15294"/>
                  <a:pt x="814407" y="18288"/>
                </a:cubicBezTo>
                <a:cubicBezTo>
                  <a:pt x="648848" y="51870"/>
                  <a:pt x="195527" y="13986"/>
                  <a:pt x="0" y="18288"/>
                </a:cubicBezTo>
                <a:cubicBezTo>
                  <a:pt x="-591" y="13205"/>
                  <a:pt x="-663" y="6329"/>
                  <a:pt x="0" y="0"/>
                </a:cubicBezTo>
                <a:close/>
              </a:path>
              <a:path w="4711446" h="18288" stroke="0" extrusionOk="0">
                <a:moveTo>
                  <a:pt x="0" y="0"/>
                </a:moveTo>
                <a:cubicBezTo>
                  <a:pt x="225644" y="-29218"/>
                  <a:pt x="321824" y="-13505"/>
                  <a:pt x="625949" y="0"/>
                </a:cubicBezTo>
                <a:cubicBezTo>
                  <a:pt x="930074" y="13505"/>
                  <a:pt x="1040728" y="23682"/>
                  <a:pt x="1157670" y="0"/>
                </a:cubicBezTo>
                <a:cubicBezTo>
                  <a:pt x="1274612" y="-23682"/>
                  <a:pt x="1732715" y="-38127"/>
                  <a:pt x="1924962" y="0"/>
                </a:cubicBezTo>
                <a:cubicBezTo>
                  <a:pt x="2117209" y="38127"/>
                  <a:pt x="2299261" y="17383"/>
                  <a:pt x="2550911" y="0"/>
                </a:cubicBezTo>
                <a:cubicBezTo>
                  <a:pt x="2802561" y="-17383"/>
                  <a:pt x="2873352" y="-24010"/>
                  <a:pt x="3176861" y="0"/>
                </a:cubicBezTo>
                <a:cubicBezTo>
                  <a:pt x="3480370" y="24010"/>
                  <a:pt x="3597961" y="-9070"/>
                  <a:pt x="3944153" y="0"/>
                </a:cubicBezTo>
                <a:cubicBezTo>
                  <a:pt x="4290345" y="9070"/>
                  <a:pt x="4345995" y="26854"/>
                  <a:pt x="4711446" y="0"/>
                </a:cubicBezTo>
                <a:cubicBezTo>
                  <a:pt x="4710560" y="5429"/>
                  <a:pt x="4712267" y="14046"/>
                  <a:pt x="4711446" y="18288"/>
                </a:cubicBezTo>
                <a:cubicBezTo>
                  <a:pt x="4574282" y="23897"/>
                  <a:pt x="4363770" y="43566"/>
                  <a:pt x="4132611" y="18288"/>
                </a:cubicBezTo>
                <a:cubicBezTo>
                  <a:pt x="3901452" y="-6990"/>
                  <a:pt x="3795359" y="-7327"/>
                  <a:pt x="3459547" y="18288"/>
                </a:cubicBezTo>
                <a:cubicBezTo>
                  <a:pt x="3123735" y="43903"/>
                  <a:pt x="3000502" y="-9998"/>
                  <a:pt x="2786484" y="18288"/>
                </a:cubicBezTo>
                <a:cubicBezTo>
                  <a:pt x="2572466" y="46574"/>
                  <a:pt x="2424773" y="17766"/>
                  <a:pt x="2160535" y="18288"/>
                </a:cubicBezTo>
                <a:cubicBezTo>
                  <a:pt x="1896297" y="18810"/>
                  <a:pt x="1673486" y="-6557"/>
                  <a:pt x="1393242" y="18288"/>
                </a:cubicBezTo>
                <a:cubicBezTo>
                  <a:pt x="1112998" y="43133"/>
                  <a:pt x="887393" y="39122"/>
                  <a:pt x="625949" y="18288"/>
                </a:cubicBezTo>
                <a:cubicBezTo>
                  <a:pt x="364505" y="-2546"/>
                  <a:pt x="251092" y="19641"/>
                  <a:pt x="0" y="18288"/>
                </a:cubicBezTo>
                <a:cubicBezTo>
                  <a:pt x="668" y="13665"/>
                  <a:pt x="578" y="5675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1275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iterate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Metadata/LabelInfo.xml><?xml version="1.0" encoding="utf-8"?>
<clbl:labelList xmlns:clbl="http://schemas.microsoft.com/office/2020/mipLabelMetadata">
  <clbl:label id="{f743b317-4758-44cb-8b65-8b43e4619766}" enabled="1" method="Standard" siteId="{fdfed7bd-9f6a-44a1-b694-6e39c468c150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47</TotalTime>
  <Words>144</Words>
  <Application>Microsoft Office PowerPoint</Application>
  <PresentationFormat>On-screen Show (4:3)</PresentationFormat>
  <Paragraphs>28</Paragraphs>
  <Slides>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2" baseType="lpstr">
      <vt:lpstr>Arial</vt:lpstr>
      <vt:lpstr>Calibri</vt:lpstr>
      <vt:lpstr>Office Theme</vt:lpstr>
      <vt:lpstr>think-cell Slide</vt:lpstr>
      <vt:lpstr>شخصيتي الأدبية</vt:lpstr>
      <vt:lpstr>من هو نجيب محفوظ؟</vt:lpstr>
      <vt:lpstr>حياة نجيب محفوظ</vt:lpstr>
      <vt:lpstr>أهم أعماله</vt:lpstr>
      <vt:lpstr>إنجازاته</vt:lpstr>
      <vt:lpstr>أثره في الأدب</vt:lpstr>
      <vt:lpstr>الخاتمة</vt:lpstr>
      <vt:lpstr>شكرًا لحسن الاستماع 🤍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شخصيتي الأدبية</dc:title>
  <dc:subject/>
  <dc:creator/>
  <cp:keywords/>
  <dc:description>generated using python-pptx</dc:description>
  <cp:lastModifiedBy>Lenovo</cp:lastModifiedBy>
  <cp:revision>9</cp:revision>
  <dcterms:created xsi:type="dcterms:W3CDTF">2013-01-27T09:14:16Z</dcterms:created>
  <dcterms:modified xsi:type="dcterms:W3CDTF">2025-11-11T18:21:24Z</dcterms:modified>
  <cp:category/>
</cp:coreProperties>
</file>